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ink/ink1.xml" ContentType="application/inkml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7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  <p:sldMasterId id="2147483661" r:id="rId2"/>
    <p:sldMasterId id="2147483674" r:id="rId3"/>
  </p:sldMasterIdLst>
  <p:notesMasterIdLst>
    <p:notesMasterId r:id="rId19"/>
  </p:notesMasterIdLst>
  <p:sldIdLst>
    <p:sldId id="272" r:id="rId4"/>
    <p:sldId id="271" r:id="rId5"/>
    <p:sldId id="257" r:id="rId6"/>
    <p:sldId id="270" r:id="rId7"/>
    <p:sldId id="263" r:id="rId8"/>
    <p:sldId id="264" r:id="rId9"/>
    <p:sldId id="265" r:id="rId10"/>
    <p:sldId id="266" r:id="rId11"/>
    <p:sldId id="267" r:id="rId12"/>
    <p:sldId id="259" r:id="rId13"/>
    <p:sldId id="260" r:id="rId14"/>
    <p:sldId id="261" r:id="rId15"/>
    <p:sldId id="262" r:id="rId16"/>
    <p:sldId id="268" r:id="rId17"/>
    <p:sldId id="269" r:id="rId18"/>
  </p:sldIdLst>
  <p:sldSz cx="12192000" cy="6858000"/>
  <p:notesSz cx="6858000" cy="9144000"/>
  <p:embeddedFontLst>
    <p:embeddedFont>
      <p:font typeface="Bahnschrift" panose="020B0502040204020203" pitchFamily="34" charset="0"/>
      <p:regular r:id="rId20"/>
      <p:bold r:id="rId21"/>
    </p:embeddedFont>
    <p:embeddedFont>
      <p:font typeface="Bahnschrift SemiBold" panose="020B0502040204020203" pitchFamily="34" charset="0"/>
      <p:bold r:id="rId22"/>
    </p:embeddedFont>
    <p:embeddedFont>
      <p:font typeface="Bembo" panose="02020502050201020203" pitchFamily="18" charset="0"/>
      <p:regular r:id="rId23"/>
      <p:boldItalic r:id="rId24"/>
    </p:embeddedFont>
    <p:embeddedFont>
      <p:font typeface="Calibri" panose="020F0502020204030204" pitchFamily="34" charset="0"/>
      <p:regular r:id="rId25"/>
      <p:bold r:id="rId26"/>
      <p:italic r:id="rId27"/>
      <p:boldItalic r:id="rId28"/>
    </p:embeddedFont>
    <p:embeddedFont>
      <p:font typeface="Open Sans Light" panose="020B0306030504020204" pitchFamily="34" charset="0"/>
      <p:regular r:id="rId29"/>
      <p:bold r:id="rId30"/>
      <p:italic r:id="rId31"/>
      <p:boldItalic r:id="rId32"/>
    </p:embeddedFont>
    <p:embeddedFont>
      <p:font typeface="Proxima Nova" panose="020B0604020202020204" charset="0"/>
      <p:regular r:id="rId33"/>
      <p:bold r:id="rId34"/>
      <p:italic r:id="rId35"/>
      <p:boldItalic r:id="rId36"/>
    </p:embeddedFont>
  </p:embeddedFontLst>
  <p:custDataLst>
    <p:tags r:id="rId37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GoogleSlidesCustomDataVersion2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38" roundtripDataSignature="AMtx7miWJKTf0vTmtFaI7xQUx0YljlRkXA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21" autoAdjust="0"/>
    <p:restoredTop sz="94660"/>
  </p:normalViewPr>
  <p:slideViewPr>
    <p:cSldViewPr snapToGrid="0">
      <p:cViewPr varScale="1">
        <p:scale>
          <a:sx n="67" d="100"/>
          <a:sy n="67" d="100"/>
        </p:scale>
        <p:origin x="640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font" Target="fonts/font7.fntdata"/><Relationship Id="rId39" Type="http://schemas.openxmlformats.org/officeDocument/2006/relationships/presProps" Target="presProps.xml"/><Relationship Id="rId21" Type="http://schemas.openxmlformats.org/officeDocument/2006/relationships/font" Target="fonts/font2.fntdata"/><Relationship Id="rId34" Type="http://schemas.openxmlformats.org/officeDocument/2006/relationships/font" Target="fonts/font15.fntdata"/><Relationship Id="rId42" Type="http://schemas.openxmlformats.org/officeDocument/2006/relationships/tableStyles" Target="tableStyles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font" Target="fonts/font1.fntdata"/><Relationship Id="rId29" Type="http://schemas.openxmlformats.org/officeDocument/2006/relationships/font" Target="fonts/font10.fntdata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font" Target="fonts/font5.fntdata"/><Relationship Id="rId32" Type="http://schemas.openxmlformats.org/officeDocument/2006/relationships/font" Target="fonts/font13.fntdata"/><Relationship Id="rId37" Type="http://schemas.openxmlformats.org/officeDocument/2006/relationships/tags" Target="tags/tag1.xml"/><Relationship Id="rId40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font" Target="fonts/font4.fntdata"/><Relationship Id="rId28" Type="http://schemas.openxmlformats.org/officeDocument/2006/relationships/font" Target="fonts/font9.fntdata"/><Relationship Id="rId36" Type="http://schemas.openxmlformats.org/officeDocument/2006/relationships/font" Target="fonts/font17.fntdata"/><Relationship Id="rId10" Type="http://schemas.openxmlformats.org/officeDocument/2006/relationships/slide" Target="slides/slide7.xml"/><Relationship Id="rId19" Type="http://schemas.openxmlformats.org/officeDocument/2006/relationships/notesMaster" Target="notesMasters/notesMaster1.xml"/><Relationship Id="rId31" Type="http://schemas.openxmlformats.org/officeDocument/2006/relationships/font" Target="fonts/font12.fntdata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font" Target="fonts/font3.fntdata"/><Relationship Id="rId27" Type="http://schemas.openxmlformats.org/officeDocument/2006/relationships/font" Target="fonts/font8.fntdata"/><Relationship Id="rId30" Type="http://schemas.openxmlformats.org/officeDocument/2006/relationships/font" Target="fonts/font11.fntdata"/><Relationship Id="rId35" Type="http://schemas.openxmlformats.org/officeDocument/2006/relationships/font" Target="fonts/font16.fntdata"/><Relationship Id="rId43" Type="http://schemas.microsoft.com/office/2016/11/relationships/changesInfo" Target="changesInfos/changesInfo1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font" Target="fonts/font6.fntdata"/><Relationship Id="rId33" Type="http://schemas.openxmlformats.org/officeDocument/2006/relationships/font" Target="fonts/font14.fntdata"/><Relationship Id="rId38" Type="http://customschemas.google.com/relationships/presentationmetadata" Target="metadata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Zawit, Ismael abdallah [CONBR]" userId="91da766e-b0dd-477b-b079-1ef5fcb94d26" providerId="ADAL" clId="{805B571C-16E1-442A-BAE6-36D49DFA6D36}"/>
    <pc:docChg chg="custSel modSld sldOrd">
      <pc:chgData name="Zawit, Ismael abdallah [CONBR]" userId="91da766e-b0dd-477b-b079-1ef5fcb94d26" providerId="ADAL" clId="{805B571C-16E1-442A-BAE6-36D49DFA6D36}" dt="2023-05-19T12:11:05.787" v="224" actId="1076"/>
      <pc:docMkLst>
        <pc:docMk/>
      </pc:docMkLst>
      <pc:sldChg chg="ord">
        <pc:chgData name="Zawit, Ismael abdallah [CONBR]" userId="91da766e-b0dd-477b-b079-1ef5fcb94d26" providerId="ADAL" clId="{805B571C-16E1-442A-BAE6-36D49DFA6D36}" dt="2023-05-19T12:08:33.388" v="1"/>
        <pc:sldMkLst>
          <pc:docMk/>
          <pc:sldMk cId="0" sldId="263"/>
        </pc:sldMkLst>
      </pc:sldChg>
      <pc:sldChg chg="ord">
        <pc:chgData name="Zawit, Ismael abdallah [CONBR]" userId="91da766e-b0dd-477b-b079-1ef5fcb94d26" providerId="ADAL" clId="{805B571C-16E1-442A-BAE6-36D49DFA6D36}" dt="2023-05-19T12:08:33.388" v="1"/>
        <pc:sldMkLst>
          <pc:docMk/>
          <pc:sldMk cId="0" sldId="264"/>
        </pc:sldMkLst>
      </pc:sldChg>
      <pc:sldChg chg="ord">
        <pc:chgData name="Zawit, Ismael abdallah [CONBR]" userId="91da766e-b0dd-477b-b079-1ef5fcb94d26" providerId="ADAL" clId="{805B571C-16E1-442A-BAE6-36D49DFA6D36}" dt="2023-05-19T12:08:33.388" v="1"/>
        <pc:sldMkLst>
          <pc:docMk/>
          <pc:sldMk cId="0" sldId="265"/>
        </pc:sldMkLst>
      </pc:sldChg>
      <pc:sldChg chg="ord">
        <pc:chgData name="Zawit, Ismael abdallah [CONBR]" userId="91da766e-b0dd-477b-b079-1ef5fcb94d26" providerId="ADAL" clId="{805B571C-16E1-442A-BAE6-36D49DFA6D36}" dt="2023-05-19T12:08:42.440" v="3"/>
        <pc:sldMkLst>
          <pc:docMk/>
          <pc:sldMk cId="0" sldId="266"/>
        </pc:sldMkLst>
      </pc:sldChg>
      <pc:sldChg chg="ord">
        <pc:chgData name="Zawit, Ismael abdallah [CONBR]" userId="91da766e-b0dd-477b-b079-1ef5fcb94d26" providerId="ADAL" clId="{805B571C-16E1-442A-BAE6-36D49DFA6D36}" dt="2023-05-19T12:08:42.440" v="3"/>
        <pc:sldMkLst>
          <pc:docMk/>
          <pc:sldMk cId="0" sldId="267"/>
        </pc:sldMkLst>
      </pc:sldChg>
      <pc:sldChg chg="addSp delSp modSp mod">
        <pc:chgData name="Zawit, Ismael abdallah [CONBR]" userId="91da766e-b0dd-477b-b079-1ef5fcb94d26" providerId="ADAL" clId="{805B571C-16E1-442A-BAE6-36D49DFA6D36}" dt="2023-05-19T12:11:05.787" v="224" actId="1076"/>
        <pc:sldMkLst>
          <pc:docMk/>
          <pc:sldMk cId="559074663" sldId="272"/>
        </pc:sldMkLst>
        <pc:spChg chg="add del mod">
          <ac:chgData name="Zawit, Ismael abdallah [CONBR]" userId="91da766e-b0dd-477b-b079-1ef5fcb94d26" providerId="ADAL" clId="{805B571C-16E1-442A-BAE6-36D49DFA6D36}" dt="2023-05-19T12:10:22.286" v="156" actId="478"/>
          <ac:spMkLst>
            <pc:docMk/>
            <pc:sldMk cId="559074663" sldId="272"/>
            <ac:spMk id="2" creationId="{87A5D40D-7CAC-A532-BE13-DAAC0297F06D}"/>
          </ac:spMkLst>
        </pc:spChg>
        <pc:spChg chg="add mod">
          <ac:chgData name="Zawit, Ismael abdallah [CONBR]" userId="91da766e-b0dd-477b-b079-1ef5fcb94d26" providerId="ADAL" clId="{805B571C-16E1-442A-BAE6-36D49DFA6D36}" dt="2023-05-19T12:11:05.787" v="224" actId="1076"/>
          <ac:spMkLst>
            <pc:docMk/>
            <pc:sldMk cId="559074663" sldId="272"/>
            <ac:spMk id="10" creationId="{D3F9F728-EAD8-1D63-FF8A-973734C11357}"/>
          </ac:spMkLst>
        </pc:spChg>
        <pc:picChg chg="mod">
          <ac:chgData name="Zawit, Ismael abdallah [CONBR]" userId="91da766e-b0dd-477b-b079-1ef5fcb94d26" providerId="ADAL" clId="{805B571C-16E1-442A-BAE6-36D49DFA6D36}" dt="2023-05-19T12:09:03.944" v="4" actId="1076"/>
          <ac:picMkLst>
            <pc:docMk/>
            <pc:sldMk cId="559074663" sldId="272"/>
            <ac:picMk id="4" creationId="{A1C8596A-70EA-9109-8DD2-486C1E04FCA4}"/>
          </ac:picMkLst>
        </pc:picChg>
      </pc:sldChg>
    </pc:docChg>
  </pc:docChgLst>
</pc:chgInfo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09-21T21:29:10.219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 0 32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alibri"/>
              <a:buNone/>
            </a:pPr>
            <a:r>
              <a:rPr lang="pt-BR" sz="1600"/>
              <a:t>Inserir foto</a:t>
            </a:r>
            <a:br>
              <a:rPr lang="pt-BR" sz="1600"/>
            </a:br>
            <a:r>
              <a:rPr lang="pt-BR" sz="1200" i="1"/>
              <a:t>Shape Format &gt; Shape Fill (Shape Styles) &gt; Pictures</a:t>
            </a:r>
            <a:endParaRPr sz="16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</p:txBody>
      </p:sp>
      <p:sp>
        <p:nvSpPr>
          <p:cNvPr id="95" name="Google Shape;95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" name="Google Shape;241;g1e2fb608f8b_1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alibri"/>
              <a:buNone/>
            </a:pPr>
            <a:r>
              <a:rPr lang="pt-BR" sz="1600"/>
              <a:t>Inserir foto</a:t>
            </a:r>
            <a:br>
              <a:rPr lang="pt-BR" sz="1600"/>
            </a:br>
            <a:r>
              <a:rPr lang="pt-BR" sz="1200" i="1"/>
              <a:t>Shape Format &gt; Shape Fill (Shape Styles) &gt; Pictures</a:t>
            </a:r>
            <a:endParaRPr sz="16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</p:txBody>
      </p:sp>
      <p:sp>
        <p:nvSpPr>
          <p:cNvPr id="242" name="Google Shape;242;g1e2fb608f8b_1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2" name="Google Shape;282;g1e2fce8231d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alibri"/>
              <a:buNone/>
            </a:pPr>
            <a:r>
              <a:rPr lang="pt-BR" sz="1600"/>
              <a:t>Inserir foto</a:t>
            </a:r>
            <a:br>
              <a:rPr lang="pt-BR" sz="1600"/>
            </a:br>
            <a:r>
              <a:rPr lang="pt-BR" sz="1200" i="1"/>
              <a:t>Shape Format &gt; Shape Fill (Shape Styles) &gt; Pictures</a:t>
            </a:r>
            <a:endParaRPr sz="16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</p:txBody>
      </p:sp>
      <p:sp>
        <p:nvSpPr>
          <p:cNvPr id="283" name="Google Shape;283;g1e2fce8231d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4" name="Google Shape;514;g1e30e71edf8_0_2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alibri"/>
              <a:buNone/>
            </a:pPr>
            <a:r>
              <a:rPr lang="pt-BR" sz="1600"/>
              <a:t>Inserir foto</a:t>
            </a:r>
            <a:br>
              <a:rPr lang="pt-BR" sz="1600"/>
            </a:br>
            <a:r>
              <a:rPr lang="pt-BR" sz="1200" i="1"/>
              <a:t>Shape Format &gt; Shape Fill (Shape Styles) &gt; Pictures</a:t>
            </a:r>
            <a:endParaRPr sz="16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</p:txBody>
      </p:sp>
      <p:sp>
        <p:nvSpPr>
          <p:cNvPr id="515" name="Google Shape;515;g1e30e71edf8_0_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0" name="Google Shape;550;g1e30e71edf8_0_10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alibri"/>
              <a:buNone/>
            </a:pPr>
            <a:r>
              <a:rPr lang="pt-BR" sz="1600" dirty="0"/>
              <a:t>Inserir foto</a:t>
            </a:r>
            <a:br>
              <a:rPr lang="pt-BR" sz="1600" dirty="0"/>
            </a:br>
            <a:r>
              <a:rPr lang="pt-BR" sz="1200" i="1" dirty="0"/>
              <a:t>Shape Format &gt; Shape Fill (Shape Styles) &gt; Pictures</a:t>
            </a:r>
            <a:endParaRPr sz="1600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 dirty="0"/>
          </a:p>
        </p:txBody>
      </p:sp>
      <p:sp>
        <p:nvSpPr>
          <p:cNvPr id="551" name="Google Shape;551;g1e30e71edf8_0_10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alibri"/>
              <a:buNone/>
            </a:pPr>
            <a:r>
              <a:rPr lang="pt-BR" sz="1600"/>
              <a:t>Inserir foto</a:t>
            </a:r>
            <a:br>
              <a:rPr lang="pt-BR" sz="1600"/>
            </a:br>
            <a:r>
              <a:rPr lang="pt-BR" sz="1200" i="1"/>
              <a:t>Shape Format &gt; Shape Fill (Shape Styles) &gt; Pictures</a:t>
            </a:r>
            <a:endParaRPr sz="16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</p:txBody>
      </p:sp>
      <p:sp>
        <p:nvSpPr>
          <p:cNvPr id="95" name="Google Shape;95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" name="Google Shape;318;g1e3008f50e7_1_10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alibri"/>
              <a:buNone/>
            </a:pPr>
            <a:r>
              <a:rPr lang="pt-BR" sz="1600"/>
              <a:t>Inserir foto</a:t>
            </a:r>
            <a:br>
              <a:rPr lang="pt-BR" sz="1600"/>
            </a:br>
            <a:r>
              <a:rPr lang="pt-BR" sz="1200" i="1"/>
              <a:t>Shape Format &gt; Shape Fill (Shape Styles) &gt; Pictures</a:t>
            </a:r>
            <a:endParaRPr sz="16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</p:txBody>
      </p:sp>
      <p:sp>
        <p:nvSpPr>
          <p:cNvPr id="319" name="Google Shape;319;g1e3008f50e7_1_10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9" name="Google Shape;359;g1e3008f50e7_1_1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alibri"/>
              <a:buNone/>
            </a:pPr>
            <a:r>
              <a:rPr lang="pt-BR" sz="1600"/>
              <a:t>Inserir foto</a:t>
            </a:r>
            <a:br>
              <a:rPr lang="pt-BR" sz="1600"/>
            </a:br>
            <a:r>
              <a:rPr lang="pt-BR" sz="1200" i="1"/>
              <a:t>Shape Format &gt; Shape Fill (Shape Styles) &gt; Pictures</a:t>
            </a:r>
            <a:endParaRPr sz="16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</p:txBody>
      </p:sp>
      <p:sp>
        <p:nvSpPr>
          <p:cNvPr id="360" name="Google Shape;360;g1e3008f50e7_1_1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0" name="Google Shape;400;g1e3008f50e7_1_3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alibri"/>
              <a:buNone/>
            </a:pPr>
            <a:r>
              <a:rPr lang="pt-BR" sz="1600"/>
              <a:t>Inserir foto</a:t>
            </a:r>
            <a:br>
              <a:rPr lang="pt-BR" sz="1600"/>
            </a:br>
            <a:r>
              <a:rPr lang="pt-BR" sz="1200" i="1"/>
              <a:t>Shape Format &gt; Shape Fill (Shape Styles) &gt; Pictures</a:t>
            </a:r>
            <a:endParaRPr sz="16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</p:txBody>
      </p:sp>
      <p:sp>
        <p:nvSpPr>
          <p:cNvPr id="401" name="Google Shape;401;g1e3008f50e7_1_3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3" name="Google Shape;443;g1e301dd1749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alibri"/>
              <a:buNone/>
            </a:pPr>
            <a:r>
              <a:rPr lang="pt-BR" sz="1600"/>
              <a:t>Inserir foto</a:t>
            </a:r>
            <a:br>
              <a:rPr lang="pt-BR" sz="1600"/>
            </a:br>
            <a:r>
              <a:rPr lang="pt-BR" sz="1200" i="1"/>
              <a:t>Shape Format &gt; Shape Fill (Shape Styles) &gt; Pictures</a:t>
            </a:r>
            <a:endParaRPr sz="16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</p:txBody>
      </p:sp>
      <p:sp>
        <p:nvSpPr>
          <p:cNvPr id="444" name="Google Shape;444;g1e301dd1749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5" name="Google Shape;485;g1e301dd1749_0_3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alibri"/>
              <a:buNone/>
            </a:pPr>
            <a:r>
              <a:rPr lang="pt-BR" sz="1600"/>
              <a:t>Inserir foto</a:t>
            </a:r>
            <a:br>
              <a:rPr lang="pt-BR" sz="1600"/>
            </a:br>
            <a:r>
              <a:rPr lang="pt-BR" sz="1200" i="1"/>
              <a:t>Shape Format &gt; Shape Fill (Shape Styles) &gt; Pictures</a:t>
            </a:r>
            <a:endParaRPr sz="16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</p:txBody>
      </p:sp>
      <p:sp>
        <p:nvSpPr>
          <p:cNvPr id="486" name="Google Shape;486;g1e301dd1749_0_3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" name="Google Shape;153;g1e2fb608f8b_0_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alibri"/>
              <a:buNone/>
            </a:pPr>
            <a:r>
              <a:rPr lang="pt-BR" sz="1600"/>
              <a:t>Inserir foto</a:t>
            </a:r>
            <a:br>
              <a:rPr lang="pt-BR" sz="1600"/>
            </a:br>
            <a:r>
              <a:rPr lang="pt-BR" sz="1200" i="1"/>
              <a:t>Shape Format &gt; Shape Fill (Shape Styles) &gt; Pictures</a:t>
            </a:r>
            <a:endParaRPr sz="16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</p:txBody>
      </p:sp>
      <p:sp>
        <p:nvSpPr>
          <p:cNvPr id="154" name="Google Shape;154;g1e2fb608f8b_0_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Google Shape;193;g1e2fb608f8b_0_4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alibri"/>
              <a:buNone/>
            </a:pPr>
            <a:r>
              <a:rPr lang="pt-BR" sz="1600"/>
              <a:t>Inserir foto</a:t>
            </a:r>
            <a:br>
              <a:rPr lang="pt-BR" sz="1600"/>
            </a:br>
            <a:r>
              <a:rPr lang="pt-BR" sz="1200" i="1"/>
              <a:t>Shape Format &gt; Shape Fill (Shape Styles) &gt; Pictures</a:t>
            </a:r>
            <a:endParaRPr sz="16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</p:txBody>
      </p:sp>
      <p:sp>
        <p:nvSpPr>
          <p:cNvPr id="194" name="Google Shape;194;g1e2fb608f8b_0_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Subtitle Only">
  <p:cSld name="1_Title Subtitle Only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6"/>
          <p:cNvSpPr txBox="1">
            <a:spLocks noGrp="1"/>
          </p:cNvSpPr>
          <p:nvPr>
            <p:ph type="title"/>
          </p:nvPr>
        </p:nvSpPr>
        <p:spPr>
          <a:xfrm>
            <a:off x="914400" y="279961"/>
            <a:ext cx="10363200" cy="81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>
              <a:lnSpc>
                <a:spcPct val="86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Open Sans Light"/>
              <a:buNone/>
              <a:defRPr sz="2800" b="0" i="0" u="none" strike="noStrike" cap="none">
                <a:solidFill>
                  <a:schemeClr val="dk1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9pPr>
          </a:lstStyle>
          <a:p>
            <a:endParaRPr/>
          </a:p>
        </p:txBody>
      </p:sp>
      <p:sp>
        <p:nvSpPr>
          <p:cNvPr id="23" name="Google Shape;23;p6"/>
          <p:cNvSpPr txBox="1">
            <a:spLocks noGrp="1"/>
          </p:cNvSpPr>
          <p:nvPr>
            <p:ph type="body" idx="1"/>
          </p:nvPr>
        </p:nvSpPr>
        <p:spPr>
          <a:xfrm>
            <a:off x="914400" y="933451"/>
            <a:ext cx="10363200" cy="4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ctr">
              <a:lnSpc>
                <a:spcPct val="86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1pPr>
            <a:lvl2pPr marL="914400" marR="0" lvl="1" indent="-304800" algn="l">
              <a:lnSpc>
                <a:spcPct val="9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2pPr>
            <a:lvl3pPr marL="1371600" marR="0" lvl="2" indent="-304800" algn="l">
              <a:lnSpc>
                <a:spcPct val="9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3pPr>
            <a:lvl4pPr marL="1828800" marR="0" lvl="3" indent="-304800" algn="l">
              <a:lnSpc>
                <a:spcPct val="9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4pPr>
            <a:lvl5pPr marL="2286000" marR="0" lvl="4" indent="-304800" algn="l">
              <a:lnSpc>
                <a:spcPct val="9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Arial"/>
              <a:buChar char="»"/>
              <a:defRPr sz="1600" b="0" i="0" u="none" strike="noStrike" cap="none">
                <a:solidFill>
                  <a:schemeClr val="dk1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5pPr>
            <a:lvl6pPr marL="2743200" marR="0" lvl="5" indent="-355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6pPr>
            <a:lvl7pPr marL="3200400" marR="0" lvl="6" indent="-355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7pPr>
            <a:lvl8pPr marL="3657600" marR="0" lvl="7" indent="-355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8pPr>
            <a:lvl9pPr marL="4114800" marR="0" lvl="8" indent="-355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VERTICAL_TEX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Google Shape;76;p15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" name="Google Shape;77;p15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8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" name="Google Shape;78;p1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" name="Google Shape;79;p1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" name="Google Shape;80;p1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_TITLE_AND_VERTICAL_TEXT"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Google Shape;82;p16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" name="Google Shape;83;p16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6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" name="Google Shape;84;p16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" name="Google Shape;85;p1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" name="Google Shape;86;p16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5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5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" name="Google Shape;18;p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" name="Google Shape;20;p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8221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Subtitle Only">
  <p:cSld name="1_Title Subtitle Only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6"/>
          <p:cNvSpPr txBox="1">
            <a:spLocks noGrp="1"/>
          </p:cNvSpPr>
          <p:nvPr>
            <p:ph type="title"/>
          </p:nvPr>
        </p:nvSpPr>
        <p:spPr>
          <a:xfrm>
            <a:off x="914400" y="279961"/>
            <a:ext cx="10363200" cy="81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>
              <a:lnSpc>
                <a:spcPct val="86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Open Sans Light"/>
              <a:buNone/>
              <a:defRPr sz="2800" b="0" i="0" u="none" strike="noStrike" cap="none">
                <a:solidFill>
                  <a:schemeClr val="dk1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9pPr>
          </a:lstStyle>
          <a:p>
            <a:endParaRPr/>
          </a:p>
        </p:txBody>
      </p:sp>
      <p:sp>
        <p:nvSpPr>
          <p:cNvPr id="23" name="Google Shape;23;p6"/>
          <p:cNvSpPr txBox="1">
            <a:spLocks noGrp="1"/>
          </p:cNvSpPr>
          <p:nvPr>
            <p:ph type="body" idx="1"/>
          </p:nvPr>
        </p:nvSpPr>
        <p:spPr>
          <a:xfrm>
            <a:off x="914400" y="933451"/>
            <a:ext cx="10363200" cy="4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ctr">
              <a:lnSpc>
                <a:spcPct val="86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1pPr>
            <a:lvl2pPr marL="914400" marR="0" lvl="1" indent="-304800" algn="l">
              <a:lnSpc>
                <a:spcPct val="9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2pPr>
            <a:lvl3pPr marL="1371600" marR="0" lvl="2" indent="-304800" algn="l">
              <a:lnSpc>
                <a:spcPct val="9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3pPr>
            <a:lvl4pPr marL="1828800" marR="0" lvl="3" indent="-304800" algn="l">
              <a:lnSpc>
                <a:spcPct val="9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4pPr>
            <a:lvl5pPr marL="2286000" marR="0" lvl="4" indent="-304800" algn="l">
              <a:lnSpc>
                <a:spcPct val="90000"/>
              </a:lnSpc>
              <a:spcBef>
                <a:spcPts val="267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Arial"/>
              <a:buChar char="»"/>
              <a:defRPr sz="1600" b="0" i="0" u="none" strike="noStrike" cap="none">
                <a:solidFill>
                  <a:schemeClr val="dk1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5pPr>
            <a:lvl6pPr marL="2743200" marR="0" lvl="5" indent="-355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6pPr>
            <a:lvl7pPr marL="3200400" marR="0" lvl="6" indent="-355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7pPr>
            <a:lvl8pPr marL="3657600" marR="0" lvl="7" indent="-355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8pPr>
            <a:lvl9pPr marL="4114800" marR="0" lvl="8" indent="-35560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342770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7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7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" name="Google Shape;27;p7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7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553783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8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8"/>
          <p:cNvSpPr txBox="1"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 sz="2400">
                <a:solidFill>
                  <a:srgbClr val="888888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33" name="Google Shape;33;p8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8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853708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 Content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" name="Google Shape;41;p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" name="Google Shape;42;p9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764537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Comparison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10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" name="Google Shape;45;p10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6" name="Google Shape;46;p10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" name="Google Shape;47;p1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8" name="Google Shape;48;p1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" name="Google Shape;49;p10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" name="Google Shape;50;p1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" name="Google Shape;51;p10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954717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Google Shape;53;p1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1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" name="Google Shape;55;p1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p1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4000746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1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1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668210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7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7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" name="Google Shape;27;p7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7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Content with Caption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Google Shape;62;p13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" name="Google Shape;63;p13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64" name="Google Shape;64;p13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5" name="Google Shape;65;p1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" name="Google Shape;66;p1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1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9396003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 with Caption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14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14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</p:sp>
      <p:sp>
        <p:nvSpPr>
          <p:cNvPr id="71" name="Google Shape;71;p14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72" name="Google Shape;72;p14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" name="Google Shape;73;p1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" name="Google Shape;74;p14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04506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Title and Vertical Tex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Google Shape;76;p15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" name="Google Shape;77;p15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8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" name="Google Shape;78;p1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" name="Google Shape;79;p1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" name="Google Shape;80;p1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493664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 Title and Text"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Google Shape;82;p16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" name="Google Shape;83;p16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6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" name="Google Shape;84;p16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" name="Google Shape;85;p1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" name="Google Shape;86;p16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6764151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EE56D6-F195-48D7-978E-7EE16D43046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56946" y="1104900"/>
            <a:ext cx="8376514" cy="3120504"/>
          </a:xfrm>
        </p:spPr>
        <p:txBody>
          <a:bodyPr anchor="b">
            <a:normAutofit/>
          </a:bodyPr>
          <a:lstStyle>
            <a:lvl1pPr algn="ctr">
              <a:lnSpc>
                <a:spcPct val="110000"/>
              </a:lnSpc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0A72F42-5C88-4F7D-803B-C371B570D78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08039" y="4442385"/>
            <a:ext cx="6074328" cy="984023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2000" i="0" spc="16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A0384F3-2D6A-49F6-8F79-F3955E9048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9259A-1FE3-4FF9-8A07-BDD8177164ED}" type="datetime4">
              <a:rPr lang="en-US" smtClean="0"/>
              <a:t>May 19, 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5363F32-CD31-4801-BAE4-09EEB12629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D5D34C-49ED-4ADB-8693-73B790764F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AEF59-F28E-467C-9EA3-92D1CFAD47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412206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A7B333-9E16-4502-96B5-3F586B7E00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ED0795-5EC7-4FF8-9FC7-22AFA3C552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A2DA5B-9862-4A23-8FEC-5C1ABC2EEF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 rot="5400000">
            <a:off x="10506456" y="5074920"/>
            <a:ext cx="2647667" cy="365125"/>
          </a:xfrm>
        </p:spPr>
        <p:txBody>
          <a:bodyPr/>
          <a:lstStyle/>
          <a:p>
            <a:fld id="{5D340FED-6E95-4177-A7EF-CD303B9E611D}" type="datetime4">
              <a:rPr lang="en-US" smtClean="0"/>
              <a:t>May 19, 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3D9A4B-0DA7-46BB-9DCE-3F26075C44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5400000">
            <a:off x="10451592" y="1408176"/>
            <a:ext cx="2770499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6A7C47-81AC-431C-A7C3-2BC71AD144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58016" y="3136392"/>
            <a:ext cx="545911" cy="580029"/>
          </a:xfrm>
        </p:spPr>
        <p:txBody>
          <a:bodyPr/>
          <a:lstStyle/>
          <a:p>
            <a:fld id="{9D4AEF59-F28E-467C-9EA3-92D1CFAD47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788886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BD2E47-4DC7-46C4-9407-FA4CF7E0AA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2513" y="1709738"/>
            <a:ext cx="9087774" cy="3438524"/>
          </a:xfr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BF7B502-122E-4177-A408-FC436A2542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52513" y="5148262"/>
            <a:ext cx="8844522" cy="1138238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229696-2AEF-4765-B33E-7DA328E464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7962CB-39AD-45A9-800F-54DAB53D6021}" type="datetime4">
              <a:rPr lang="en-US" smtClean="0"/>
              <a:t>May 19, 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9B2E4-2F1C-4FEE-AAB2-4FCC3EEFD1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27D4B8-E107-480A-AA17-261CA49BBB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AEF59-F28E-467C-9EA3-92D1CFAD47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50021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B8BAE8-3305-4F08-BECB-56AD7FD4E4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77021AC-6D8D-4D24-8B01-8AE8F41BE4B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50878" y="1825624"/>
            <a:ext cx="4473622" cy="4460875"/>
          </a:xfrm>
        </p:spPr>
        <p:txBody>
          <a:bodyPr/>
          <a:lstStyle>
            <a:lvl2pPr marL="274320" indent="0">
              <a:buFontTx/>
              <a:buNone/>
              <a:defRPr/>
            </a:lvl2pPr>
            <a:lvl3pPr marL="502920">
              <a:defRPr/>
            </a:lvl3pPr>
            <a:lvl4pPr marL="548640" indent="0">
              <a:buFontTx/>
              <a:buNone/>
              <a:defRPr/>
            </a:lvl4pPr>
            <a:lvl5pPr marL="73152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8E7F49C-3DB3-40B7-89B3-E3BC32FC110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844540" y="1825624"/>
            <a:ext cx="5016943" cy="44608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1E33D58-BDF5-4F1F-806B-0491CB3624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EDF93D-55AB-4606-B9D7-742F1FC51983}" type="datetime4">
              <a:rPr lang="en-US" smtClean="0"/>
              <a:t>May 19, 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48BCBFD-1FE1-441A-B3AF-C3E7E7B8D1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70CE272-E6FB-455B-BACB-2471D66D95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AEF59-F28E-467C-9EA3-92D1CFAD475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388326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73A4FB-9EF5-4D6C-A275-2DE1077A29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71563" y="1835219"/>
            <a:ext cx="445293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 i="0" cap="all" spc="30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DC9972A-4D34-4A9F-84EB-8D64A703B56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71562" y="2717801"/>
            <a:ext cx="4452938" cy="3559452"/>
          </a:xfrm>
        </p:spPr>
        <p:txBody>
          <a:bodyPr/>
          <a:lstStyle>
            <a:lvl2pPr marL="274320" indent="0">
              <a:buFontTx/>
              <a:buNone/>
              <a:defRPr/>
            </a:lvl2pPr>
            <a:lvl3pPr marL="548640">
              <a:defRPr/>
            </a:lvl3pPr>
            <a:lvl4pPr marL="594360" indent="0">
              <a:buFontTx/>
              <a:buNone/>
              <a:defRPr/>
            </a:lvl4pPr>
            <a:lvl5pPr marL="82296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BBDDE3-C8D7-4600-8259-24E1F8118A4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844540" y="1835219"/>
            <a:ext cx="5016943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 i="0" cap="all" spc="30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4649FFF-44C7-4256-AFE1-C5457C7AB50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844540" y="2717800"/>
            <a:ext cx="5016943" cy="3559453"/>
          </a:xfrm>
        </p:spPr>
        <p:txBody>
          <a:bodyPr/>
          <a:lstStyle>
            <a:lvl2pPr marL="457200" indent="0">
              <a:buNone/>
              <a:defRPr/>
            </a:lvl2pPr>
            <a:lvl3pPr marL="548640">
              <a:defRPr/>
            </a:lvl3pPr>
            <a:lvl4pPr marL="594360" indent="0">
              <a:buFontTx/>
              <a:buNone/>
              <a:defRPr/>
            </a:lvl4pPr>
            <a:lvl5pPr marL="82296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BEC6ACF-080E-4B7C-B0C0-77E90C16E9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F2841D-FB5C-47AB-B2FF-32E855C1EA71}" type="datetime4">
              <a:rPr lang="en-US" smtClean="0"/>
              <a:t>May 19, 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9A68C0B-BC90-4ADA-B6E6-2B30BFF9E7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3BCE559-C82B-4E27-965B-4AC3C66FC8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AEF59-F28E-467C-9EA3-92D1CFAD475A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3752B99E-38EC-4745-889B-124D347596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8467569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3DE7304-D393-47F0-ACCC-1F72EFCCE7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8537E9-D174-424D-BEE8-AFC4CA5F9F97}" type="datetime4">
              <a:rPr lang="en-US" smtClean="0"/>
              <a:t>May 19, 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8451FF-032D-4787-BA4B-5EB415494A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9B7511D-7256-4A08-BF62-3B3F821A6F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AEF59-F28E-467C-9EA3-92D1CFAD475A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3FCDA27-1C47-4EA1-A160-EC91FD88BC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267653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8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8"/>
          <p:cNvSpPr txBox="1"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 sz="2400">
                <a:solidFill>
                  <a:srgbClr val="888888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33" name="Google Shape;33;p8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8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6DE8ADA-7BF8-433A-8770-61C690F37D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7A44C0-F7AC-49C2-8289-1E7A86D9FB50}" type="datetime4">
              <a:rPr lang="en-US" smtClean="0"/>
              <a:t>May 19, 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6357B86-EC22-49C6-BBC6-639D57D1AF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63764B-CF91-4C81-B4C3-5B5E5A9736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AEF59-F28E-467C-9EA3-92D1CFAD47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39717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8E4801-B0C7-4458-B413-24D6E68FAA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633" y="457200"/>
            <a:ext cx="4170355" cy="1917509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FA0C76-733A-488A-89FB-7D04FD64BD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81637" y="457200"/>
            <a:ext cx="5562601" cy="5943600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45B9DE-016A-4B31-BB52-99C76E28B4B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063633" y="2374708"/>
            <a:ext cx="4170355" cy="4026091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2ED6CC3-66DD-4D9A-A9C7-F588BA8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84BC-6E78-40D1-8831-40AB1F596614}" type="datetime4">
              <a:rPr lang="en-US" smtClean="0"/>
              <a:t>May 19, 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1359FC8-04EF-4F7D-8E43-4EE0E95DA9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E71C964-4227-4DEE-87A1-026162DDF6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AEF59-F28E-467C-9EA3-92D1CFAD47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118329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F0EB4E-D4BB-4C86-A820-63474E5A4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2038" y="457199"/>
            <a:ext cx="3913241" cy="1928813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4FA99A1-8FAF-415D-A399-1B2C2A0F230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257752" y="457200"/>
            <a:ext cx="6110288" cy="59436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4A15BEE-9915-4637-85A2-2AF2872C72B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062038" y="2386013"/>
            <a:ext cx="3913241" cy="4014787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73427C-3B67-4ED4-925D-04B9C09AA5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FA080F-3961-4D42-BEDE-84A1FED032F1}" type="datetime4">
              <a:rPr lang="en-US" smtClean="0"/>
              <a:t>May 19, 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B5DAFD-22DE-4E9E-9C72-B16C1F273D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0E8EE99-49CC-4A30-8ADA-39EFD8DAAD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AEF59-F28E-467C-9EA3-92D1CFAD47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805743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F0171A2-02C1-4543-8B6B-FCF7E69712D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050879" y="1825625"/>
            <a:ext cx="9810604" cy="4516696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5027C-A386-44E4-AFE1-33AFFDA3AD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CC3C8F-D4A7-4EAD-92AD-82C91CB8BB85}" type="datetime4">
              <a:rPr lang="en-US" smtClean="0"/>
              <a:t>May 19, 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1BF710-0558-4457-825D-48713CAED3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A7F93D-5DC3-4C36-AEB0-79CDB15C31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AEF59-F28E-467C-9EA3-92D1CFAD475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7CFC0C8-11FE-4003-B2D6-B7B8E27905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403725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CEB41C5-3638-439D-BA61-4DAA142226E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1" y="464025"/>
            <a:ext cx="2161540" cy="5800298"/>
          </a:xfrm>
        </p:spPr>
        <p:txBody>
          <a:bodyPr vert="eaVer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99B91A0-A376-483C-926E-189F376E552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464023"/>
            <a:ext cx="7886700" cy="580029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14134E-B7D5-4664-BB2E-6A98ED630A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011D41-E33C-4BC7-8272-37E8417FD097}" type="datetime4">
              <a:rPr lang="en-US" smtClean="0"/>
              <a:t>May 19, 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A54E2A-B1CE-4F2E-9D9A-D47E514D5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E7C304-46A8-4179-87A2-B8CC10BAAF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AEF59-F28E-467C-9EA3-92D1CFAD47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40608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" name="Google Shape;41;p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" name="Google Shape;42;p9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10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" name="Google Shape;45;p10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6" name="Google Shape;46;p10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" name="Google Shape;47;p1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8" name="Google Shape;48;p1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" name="Google Shape;49;p10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" name="Google Shape;50;p1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" name="Google Shape;51;p10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Google Shape;53;p1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1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" name="Google Shape;55;p1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p1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1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1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Google Shape;62;p13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" name="Google Shape;63;p13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64" name="Google Shape;64;p13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5" name="Google Shape;65;p1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" name="Google Shape;66;p1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1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_WITH_CAPTION_TEXT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14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14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</p:sp>
      <p:sp>
        <p:nvSpPr>
          <p:cNvPr id="71" name="Google Shape;71;p14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72" name="Google Shape;72;p14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" name="Google Shape;73;p1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" name="Google Shape;74;p14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ags" Target="../tags/tag4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17" Type="http://schemas.openxmlformats.org/officeDocument/2006/relationships/customXml" Target="../ink/ink1.xml"/><Relationship Id="rId2" Type="http://schemas.openxmlformats.org/officeDocument/2006/relationships/slideLayout" Target="../slideLayouts/slideLayout25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oleObject" Target="../embeddings/oleObject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6DD5EFB-BB36-983C-C51A-8C94D8F8BE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392219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15" imgH="416" progId="TCLayout.ActiveDocument.1">
                  <p:embed/>
                </p:oleObj>
              </mc:Choice>
              <mc:Fallback>
                <p:oleObj name="think-cell Slide" r:id="rId14" imgW="415" imgH="41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DD5EFB-BB36-983C-C51A-8C94D8F8BE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4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4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4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" name="Google Shape;13;p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" name="Google Shape;14;p4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85BAB0A-1837-BF2C-3327-A77913AF5B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548122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5" imgH="416" progId="TCLayout.ActiveDocument.1">
                  <p:embed/>
                </p:oleObj>
              </mc:Choice>
              <mc:Fallback>
                <p:oleObj name="think-cell Slide" r:id="rId15" imgW="415" imgH="41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5BAB0A-1837-BF2C-3327-A77913AF5B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4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4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4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" name="Google Shape;13;p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" name="Google Shape;14;p4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82533756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0661666-6730-D81F-0741-532DECB7A2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786613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15" imgH="416" progId="TCLayout.ActiveDocument.1">
                  <p:embed/>
                </p:oleObj>
              </mc:Choice>
              <mc:Fallback>
                <p:oleObj name="think-cell Slide" r:id="rId14" imgW="415" imgH="41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0661666-6730-D81F-0741-532DECB7A2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A person in a dark room&#10;&#10;Description automatically generated">
            <a:extLst>
              <a:ext uri="{FF2B5EF4-FFF2-40B4-BE49-F238E27FC236}">
                <a16:creationId xmlns:a16="http://schemas.microsoft.com/office/drawing/2014/main" id="{DEB2E8C4-C3E7-4048-A43D-9859510CFA9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05744" y="0"/>
            <a:ext cx="1286256" cy="6858000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AFBD2E1-C16B-4996-869C-DD03823A80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0879" y="609601"/>
            <a:ext cx="9810604" cy="121602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44DB6A-ED8E-4755-BC7A-B7AA652442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50879" y="1825624"/>
            <a:ext cx="9810604" cy="44287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F5CE27-B558-4B88-ACE3-B70423127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5400000">
            <a:off x="10509243" y="5071825"/>
            <a:ext cx="26476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cap="all" spc="3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defRPr>
            </a:lvl1pPr>
          </a:lstStyle>
          <a:p>
            <a:fld id="{A33960BD-7AC1-4217-9611-AAA56D3EE38F}" type="datetime4">
              <a:rPr lang="en-US" smtClean="0"/>
              <a:pPr/>
              <a:t>May 19, 2023</a:t>
            </a:fld>
            <a:endParaRPr lang="en-US" dirty="0">
              <a:latin typeface="+mn-lt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CE5D61-F203-4F00-9CF1-AB0AE49370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5400000">
            <a:off x="10447827" y="1407402"/>
            <a:ext cx="27704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cap="all" spc="3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FF38BD-5F38-4F6E-B5DD-EB1AF06002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0121" y="3138985"/>
            <a:ext cx="545911" cy="58002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defRPr>
            </a:lvl1pPr>
          </a:lstStyle>
          <a:p>
            <a:fld id="{9D4AEF59-F28E-467C-9EA3-92D1CFAD475A}" type="slidenum">
              <a:rPr lang="en-US" smtClean="0"/>
              <a:pPr/>
              <a:t>‹#›</a:t>
            </a:fld>
            <a:endParaRPr lang="en-US">
              <a:latin typeface="+mn-lt"/>
            </a:endParaRPr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17">
            <p14:nvContentPartPr>
              <p14:cNvPr id="18" name="Ink 17">
                <a:extLst>
                  <a:ext uri="{FF2B5EF4-FFF2-40B4-BE49-F238E27FC236}">
                    <a16:creationId xmlns:a16="http://schemas.microsoft.com/office/drawing/2014/main" id="{24D29CCB-7956-4E3E-8880-304085F04BF4}"/>
                  </a:ext>
                </a:extLst>
              </p14:cNvPr>
              <p14:cNvContentPartPr/>
              <p14:nvPr/>
            </p14:nvContentPartPr>
            <p14:xfrm>
              <a:off x="12490710" y="6342652"/>
              <a:ext cx="360" cy="360"/>
            </p14:xfrm>
          </p:contentPart>
        </mc:Choice>
        <mc:Fallback>
          <p:pic>
            <p:nvPicPr>
              <p:cNvPr id="18" name="Ink 17">
                <a:extLst>
                  <a:ext uri="{FF2B5EF4-FFF2-40B4-BE49-F238E27FC236}">
                    <a16:creationId xmlns:a16="http://schemas.microsoft.com/office/drawing/2014/main" id="{24D29CCB-7956-4E3E-8880-304085F04BF4}"/>
                  </a:ext>
                </a:extLst>
              </p:cNvPr>
              <p:cNvPicPr/>
              <p:nvPr/>
            </p:nvPicPr>
            <p:blipFill>
              <a:blip r:embed="rId18"/>
              <a:stretch>
                <a:fillRect/>
              </a:stretch>
            </p:blipFill>
            <p:spPr>
              <a:xfrm>
                <a:off x="12481710" y="6333652"/>
                <a:ext cx="18000" cy="18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8091893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p:hf sldNum="0" hdr="0" ftr="0" dt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800" kern="1200" cap="all" spc="600" baseline="0">
          <a:solidFill>
            <a:schemeClr val="tx1">
              <a:lumMod val="85000"/>
              <a:lumOff val="15000"/>
            </a:schemeClr>
          </a:solidFill>
          <a:latin typeface="+mj-lt"/>
          <a:ea typeface="Batang" panose="02030600000101010101" pitchFamily="18" charset="-127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SzPct val="80000"/>
        <a:buFont typeface="Arial" panose="020B0604020202020204" pitchFamily="34" charset="0"/>
        <a:buChar char="•"/>
        <a:defRPr sz="2000" kern="1200" spc="50" baseline="0">
          <a:solidFill>
            <a:schemeClr val="tx1">
              <a:lumMod val="85000"/>
              <a:lumOff val="15000"/>
            </a:schemeClr>
          </a:solidFill>
          <a:latin typeface="+mn-lt"/>
          <a:ea typeface="Batang" panose="02030600000101010101" pitchFamily="18" charset="-127"/>
          <a:cs typeface="+mn-cs"/>
        </a:defRPr>
      </a:lvl1pPr>
      <a:lvl2pPr marL="274320" indent="0" algn="l" defTabSz="914400" rtl="0" eaLnBrk="1" latinLnBrk="0" hangingPunct="1">
        <a:lnSpc>
          <a:spcPct val="100000"/>
        </a:lnSpc>
        <a:spcBef>
          <a:spcPts val="500"/>
        </a:spcBef>
        <a:buFontTx/>
        <a:buNone/>
        <a:defRPr sz="1800" kern="1200" spc="50" baseline="0">
          <a:solidFill>
            <a:schemeClr val="tx1">
              <a:lumMod val="85000"/>
              <a:lumOff val="15000"/>
            </a:schemeClr>
          </a:solidFill>
          <a:latin typeface="+mn-lt"/>
          <a:ea typeface="Batang" panose="02030600000101010101" pitchFamily="18" charset="-127"/>
          <a:cs typeface="+mn-cs"/>
        </a:defRPr>
      </a:lvl2pPr>
      <a:lvl3pPr marL="605790" indent="-285750" algn="l" defTabSz="914400" rtl="0" eaLnBrk="1" latinLnBrk="0" hangingPunct="1">
        <a:lnSpc>
          <a:spcPct val="100000"/>
        </a:lnSpc>
        <a:spcBef>
          <a:spcPts val="500"/>
        </a:spcBef>
        <a:buSzPct val="80000"/>
        <a:buFont typeface="Arial" panose="020B0604020202020204" pitchFamily="34" charset="0"/>
        <a:buChar char="•"/>
        <a:defRPr sz="1600" kern="1200" spc="50" baseline="0">
          <a:solidFill>
            <a:schemeClr val="tx1">
              <a:lumMod val="85000"/>
              <a:lumOff val="15000"/>
            </a:schemeClr>
          </a:solidFill>
          <a:latin typeface="+mn-lt"/>
          <a:ea typeface="Batang" panose="02030600000101010101" pitchFamily="18" charset="-127"/>
          <a:cs typeface="+mn-cs"/>
        </a:defRPr>
      </a:lvl3pPr>
      <a:lvl4pPr marL="630936" indent="0" algn="l" defTabSz="914400" rtl="0" eaLnBrk="1" latinLnBrk="0" hangingPunct="1">
        <a:lnSpc>
          <a:spcPct val="100000"/>
        </a:lnSpc>
        <a:spcBef>
          <a:spcPts val="500"/>
        </a:spcBef>
        <a:buFontTx/>
        <a:buNone/>
        <a:defRPr sz="1400" kern="1200" spc="50" baseline="0">
          <a:solidFill>
            <a:schemeClr val="tx1">
              <a:lumMod val="85000"/>
              <a:lumOff val="15000"/>
            </a:schemeClr>
          </a:solidFill>
          <a:latin typeface="+mn-lt"/>
          <a:ea typeface="Batang" panose="02030600000101010101" pitchFamily="18" charset="-127"/>
          <a:cs typeface="+mn-cs"/>
        </a:defRPr>
      </a:lvl4pPr>
      <a:lvl5pPr marL="822960" indent="-228600" algn="l" defTabSz="914400" rtl="0" eaLnBrk="1" latinLnBrk="0" hangingPunct="1">
        <a:lnSpc>
          <a:spcPct val="100000"/>
        </a:lnSpc>
        <a:spcBef>
          <a:spcPts val="500"/>
        </a:spcBef>
        <a:buSzPct val="80000"/>
        <a:buFont typeface="Arial" panose="020B0604020202020204" pitchFamily="34" charset="0"/>
        <a:buChar char="•"/>
        <a:defRPr sz="1400" kern="1200" spc="50" baseline="0">
          <a:solidFill>
            <a:schemeClr val="tx1">
              <a:lumMod val="85000"/>
              <a:lumOff val="15000"/>
            </a:schemeClr>
          </a:solidFill>
          <a:latin typeface="+mn-lt"/>
          <a:ea typeface="Batang" panose="02030600000101010101" pitchFamily="18" charset="-127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5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g"/><Relationship Id="rId3" Type="http://schemas.openxmlformats.org/officeDocument/2006/relationships/image" Target="../media/image7.png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27.png"/><Relationship Id="rId9" Type="http://schemas.openxmlformats.org/officeDocument/2006/relationships/image" Target="../media/image46.jp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jpg"/><Relationship Id="rId3" Type="http://schemas.openxmlformats.org/officeDocument/2006/relationships/image" Target="../media/image7.png"/><Relationship Id="rId7" Type="http://schemas.openxmlformats.org/officeDocument/2006/relationships/image" Target="../media/image47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9.png"/><Relationship Id="rId11" Type="http://schemas.openxmlformats.org/officeDocument/2006/relationships/image" Target="../media/image51.jpg"/><Relationship Id="rId5" Type="http://schemas.openxmlformats.org/officeDocument/2006/relationships/image" Target="../media/image28.png"/><Relationship Id="rId10" Type="http://schemas.openxmlformats.org/officeDocument/2006/relationships/image" Target="../media/image50.jpg"/><Relationship Id="rId4" Type="http://schemas.openxmlformats.org/officeDocument/2006/relationships/image" Target="../media/image27.png"/><Relationship Id="rId9" Type="http://schemas.openxmlformats.org/officeDocument/2006/relationships/image" Target="../media/image49.jp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image" Target="../media/image7.png"/><Relationship Id="rId7" Type="http://schemas.openxmlformats.org/officeDocument/2006/relationships/image" Target="../media/image5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Relationship Id="rId9" Type="http://schemas.openxmlformats.org/officeDocument/2006/relationships/image" Target="../media/image5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image" Target="../media/image7.png"/><Relationship Id="rId7" Type="http://schemas.openxmlformats.org/officeDocument/2006/relationships/image" Target="../media/image5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10" Type="http://schemas.openxmlformats.org/officeDocument/2006/relationships/image" Target="../media/image17.png"/><Relationship Id="rId4" Type="http://schemas.openxmlformats.org/officeDocument/2006/relationships/image" Target="../media/image27.png"/><Relationship Id="rId9" Type="http://schemas.openxmlformats.org/officeDocument/2006/relationships/image" Target="../media/image59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jfif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60.jpg"/><Relationship Id="rId12" Type="http://schemas.openxmlformats.org/officeDocument/2006/relationships/image" Target="../media/image65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6" Type="http://schemas.openxmlformats.org/officeDocument/2006/relationships/image" Target="../media/image7.png"/><Relationship Id="rId11" Type="http://schemas.openxmlformats.org/officeDocument/2006/relationships/image" Target="../media/image64.jfif"/><Relationship Id="rId5" Type="http://schemas.openxmlformats.org/officeDocument/2006/relationships/image" Target="../media/image1.emf"/><Relationship Id="rId10" Type="http://schemas.openxmlformats.org/officeDocument/2006/relationships/image" Target="../media/image63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62.jp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7.png"/><Relationship Id="rId7" Type="http://schemas.openxmlformats.org/officeDocument/2006/relationships/image" Target="../media/image68.png"/><Relationship Id="rId12" Type="http://schemas.openxmlformats.org/officeDocument/2006/relationships/image" Target="../media/image7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0.jpg"/><Relationship Id="rId11" Type="http://schemas.openxmlformats.org/officeDocument/2006/relationships/image" Target="../media/image70.jpg"/><Relationship Id="rId5" Type="http://schemas.openxmlformats.org/officeDocument/2006/relationships/image" Target="../media/image67.png"/><Relationship Id="rId10" Type="http://schemas.openxmlformats.org/officeDocument/2006/relationships/image" Target="../media/image69.jpeg"/><Relationship Id="rId4" Type="http://schemas.openxmlformats.org/officeDocument/2006/relationships/image" Target="../media/image66.jpg"/><Relationship Id="rId9" Type="http://schemas.openxmlformats.org/officeDocument/2006/relationships/image" Target="../media/image2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5.png"/><Relationship Id="rId3" Type="http://schemas.openxmlformats.org/officeDocument/2006/relationships/image" Target="../media/image7.png"/><Relationship Id="rId7" Type="http://schemas.openxmlformats.org/officeDocument/2006/relationships/image" Target="../media/image10.png"/><Relationship Id="rId12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9.png"/><Relationship Id="rId11" Type="http://schemas.microsoft.com/office/2007/relationships/hdphoto" Target="../media/hdphoto1.wdp"/><Relationship Id="rId5" Type="http://schemas.openxmlformats.org/officeDocument/2006/relationships/image" Target="../media/image6.png"/><Relationship Id="rId10" Type="http://schemas.openxmlformats.org/officeDocument/2006/relationships/image" Target="../media/image13.png"/><Relationship Id="rId4" Type="http://schemas.openxmlformats.org/officeDocument/2006/relationships/image" Target="../media/image8.png"/><Relationship Id="rId9" Type="http://schemas.openxmlformats.org/officeDocument/2006/relationships/image" Target="../media/image12.png"/><Relationship Id="rId14" Type="http://schemas.microsoft.com/office/2007/relationships/hdphoto" Target="../media/hdphoto2.wdp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7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7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Relationship Id="rId9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7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11" Type="http://schemas.openxmlformats.org/officeDocument/2006/relationships/image" Target="../media/image21.png"/><Relationship Id="rId5" Type="http://schemas.openxmlformats.org/officeDocument/2006/relationships/image" Target="../media/image29.png"/><Relationship Id="rId10" Type="http://schemas.openxmlformats.org/officeDocument/2006/relationships/image" Target="../media/image33.png"/><Relationship Id="rId4" Type="http://schemas.openxmlformats.org/officeDocument/2006/relationships/image" Target="../media/image28.png"/><Relationship Id="rId9" Type="http://schemas.openxmlformats.org/officeDocument/2006/relationships/image" Target="../media/image3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jpg"/><Relationship Id="rId3" Type="http://schemas.openxmlformats.org/officeDocument/2006/relationships/image" Target="../media/image7.png"/><Relationship Id="rId7" Type="http://schemas.openxmlformats.org/officeDocument/2006/relationships/image" Target="../media/image37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6.jpg"/><Relationship Id="rId5" Type="http://schemas.openxmlformats.org/officeDocument/2006/relationships/image" Target="../media/image35.jpg"/><Relationship Id="rId4" Type="http://schemas.openxmlformats.org/officeDocument/2006/relationships/image" Target="../media/image34.jpg"/><Relationship Id="rId9" Type="http://schemas.openxmlformats.org/officeDocument/2006/relationships/image" Target="../media/image39.jp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jpg"/><Relationship Id="rId3" Type="http://schemas.openxmlformats.org/officeDocument/2006/relationships/image" Target="../media/image7.png"/><Relationship Id="rId7" Type="http://schemas.openxmlformats.org/officeDocument/2006/relationships/image" Target="../media/image40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4.jpg"/><Relationship Id="rId5" Type="http://schemas.openxmlformats.org/officeDocument/2006/relationships/image" Target="../media/image28.png"/><Relationship Id="rId4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C243A56-4386-DB3C-C481-66CC29E355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243A56-4386-DB3C-C481-66CC29E355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A colorful light bulb with business icons">
            <a:extLst>
              <a:ext uri="{FF2B5EF4-FFF2-40B4-BE49-F238E27FC236}">
                <a16:creationId xmlns:a16="http://schemas.microsoft.com/office/drawing/2014/main" id="{A1C8596A-70EA-9109-8DD2-486C1E04FCA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065" r="10251" b="2"/>
          <a:stretch/>
        </p:blipFill>
        <p:spPr>
          <a:xfrm>
            <a:off x="3584193" y="-13647"/>
            <a:ext cx="8607807" cy="6871647"/>
          </a:xfrm>
          <a:custGeom>
            <a:avLst/>
            <a:gdLst/>
            <a:ahLst/>
            <a:cxnLst/>
            <a:rect l="l" t="t" r="r" b="b"/>
            <a:pathLst>
              <a:path w="8607807" h="6858000">
                <a:moveTo>
                  <a:pt x="8607807" y="0"/>
                </a:moveTo>
                <a:lnTo>
                  <a:pt x="8607807" y="6858000"/>
                </a:lnTo>
                <a:lnTo>
                  <a:pt x="2049693" y="6858000"/>
                </a:lnTo>
                <a:lnTo>
                  <a:pt x="1546051" y="6858000"/>
                </a:lnTo>
                <a:lnTo>
                  <a:pt x="1535751" y="6815348"/>
                </a:lnTo>
                <a:cubicBezTo>
                  <a:pt x="1530460" y="6761684"/>
                  <a:pt x="1515370" y="6604898"/>
                  <a:pt x="1514301" y="6536022"/>
                </a:cubicBezTo>
                <a:cubicBezTo>
                  <a:pt x="1518045" y="6478504"/>
                  <a:pt x="1528503" y="6437797"/>
                  <a:pt x="1529339" y="6402088"/>
                </a:cubicBezTo>
                <a:cubicBezTo>
                  <a:pt x="1525062" y="6346650"/>
                  <a:pt x="1502062" y="6294623"/>
                  <a:pt x="1493941" y="6256398"/>
                </a:cubicBezTo>
                <a:cubicBezTo>
                  <a:pt x="1502669" y="6241770"/>
                  <a:pt x="1469920" y="6187857"/>
                  <a:pt x="1480613" y="6172741"/>
                </a:cubicBezTo>
                <a:cubicBezTo>
                  <a:pt x="1481020" y="6152279"/>
                  <a:pt x="1458164" y="6048753"/>
                  <a:pt x="1443364" y="6006407"/>
                </a:cubicBezTo>
                <a:cubicBezTo>
                  <a:pt x="1426694" y="5958900"/>
                  <a:pt x="1390307" y="5908317"/>
                  <a:pt x="1380584" y="5887691"/>
                </a:cubicBezTo>
                <a:cubicBezTo>
                  <a:pt x="1370860" y="5867065"/>
                  <a:pt x="1392244" y="5909118"/>
                  <a:pt x="1385023" y="5882650"/>
                </a:cubicBezTo>
                <a:cubicBezTo>
                  <a:pt x="1377800" y="5856181"/>
                  <a:pt x="1345702" y="5759038"/>
                  <a:pt x="1337254" y="5728879"/>
                </a:cubicBezTo>
                <a:cubicBezTo>
                  <a:pt x="1353956" y="5727462"/>
                  <a:pt x="1323673" y="5710676"/>
                  <a:pt x="1334321" y="5701696"/>
                </a:cubicBezTo>
                <a:cubicBezTo>
                  <a:pt x="1343675" y="5695367"/>
                  <a:pt x="1336672" y="5688797"/>
                  <a:pt x="1335877" y="5681564"/>
                </a:cubicBezTo>
                <a:cubicBezTo>
                  <a:pt x="1343201" y="5672524"/>
                  <a:pt x="1329617" y="5640839"/>
                  <a:pt x="1319978" y="5632219"/>
                </a:cubicBezTo>
                <a:cubicBezTo>
                  <a:pt x="1286551" y="5611011"/>
                  <a:pt x="1310947" y="5568721"/>
                  <a:pt x="1285321" y="5551224"/>
                </a:cubicBezTo>
                <a:cubicBezTo>
                  <a:pt x="1281540" y="5545203"/>
                  <a:pt x="1279983" y="5539432"/>
                  <a:pt x="1279815" y="5533855"/>
                </a:cubicBezTo>
                <a:lnTo>
                  <a:pt x="1282507" y="5518422"/>
                </a:lnTo>
                <a:lnTo>
                  <a:pt x="1289604" y="5514404"/>
                </a:lnTo>
                <a:lnTo>
                  <a:pt x="1287766" y="5504772"/>
                </a:lnTo>
                <a:lnTo>
                  <a:pt x="1288829" y="5502102"/>
                </a:lnTo>
                <a:cubicBezTo>
                  <a:pt x="1290896" y="5497007"/>
                  <a:pt x="1292688" y="5491968"/>
                  <a:pt x="1293373" y="5486914"/>
                </a:cubicBezTo>
                <a:cubicBezTo>
                  <a:pt x="1288690" y="5472938"/>
                  <a:pt x="1272696" y="5448436"/>
                  <a:pt x="1260736" y="5418245"/>
                </a:cubicBezTo>
                <a:cubicBezTo>
                  <a:pt x="1238579" y="5385699"/>
                  <a:pt x="1238884" y="5340972"/>
                  <a:pt x="1221610" y="5305770"/>
                </a:cubicBezTo>
                <a:lnTo>
                  <a:pt x="1216099" y="5298785"/>
                </a:lnTo>
                <a:lnTo>
                  <a:pt x="1217278" y="5268992"/>
                </a:lnTo>
                <a:cubicBezTo>
                  <a:pt x="1221588" y="5263843"/>
                  <a:pt x="1222716" y="5256480"/>
                  <a:pt x="1218469" y="5250149"/>
                </a:cubicBezTo>
                <a:lnTo>
                  <a:pt x="1206220" y="5142322"/>
                </a:lnTo>
                <a:cubicBezTo>
                  <a:pt x="1205294" y="5106716"/>
                  <a:pt x="1196908" y="5091595"/>
                  <a:pt x="1212921" y="5036513"/>
                </a:cubicBezTo>
                <a:cubicBezTo>
                  <a:pt x="1234138" y="4978012"/>
                  <a:pt x="1204801" y="4893378"/>
                  <a:pt x="1212183" y="4827738"/>
                </a:cubicBezTo>
                <a:cubicBezTo>
                  <a:pt x="1183151" y="4792886"/>
                  <a:pt x="1209228" y="4811487"/>
                  <a:pt x="1202048" y="4774693"/>
                </a:cubicBezTo>
                <a:cubicBezTo>
                  <a:pt x="1202483" y="4751423"/>
                  <a:pt x="1202919" y="4728152"/>
                  <a:pt x="1203354" y="4704882"/>
                </a:cubicBezTo>
                <a:lnTo>
                  <a:pt x="1201502" y="4691500"/>
                </a:lnTo>
                <a:lnTo>
                  <a:pt x="1194919" y="4687895"/>
                </a:lnTo>
                <a:lnTo>
                  <a:pt x="1187792" y="4667873"/>
                </a:lnTo>
                <a:cubicBezTo>
                  <a:pt x="1186060" y="4660351"/>
                  <a:pt x="1185291" y="4652220"/>
                  <a:pt x="1186080" y="4643189"/>
                </a:cubicBezTo>
                <a:cubicBezTo>
                  <a:pt x="1199189" y="4613276"/>
                  <a:pt x="1167081" y="4562691"/>
                  <a:pt x="1184722" y="4525834"/>
                </a:cubicBezTo>
                <a:cubicBezTo>
                  <a:pt x="1182407" y="4490142"/>
                  <a:pt x="1175424" y="4451369"/>
                  <a:pt x="1172188" y="4429037"/>
                </a:cubicBezTo>
                <a:cubicBezTo>
                  <a:pt x="1161331" y="4419671"/>
                  <a:pt x="1178123" y="4389539"/>
                  <a:pt x="1165306" y="4391841"/>
                </a:cubicBezTo>
                <a:cubicBezTo>
                  <a:pt x="1171061" y="4381101"/>
                  <a:pt x="1173552" y="4338138"/>
                  <a:pt x="1168602" y="4327040"/>
                </a:cubicBezTo>
                <a:lnTo>
                  <a:pt x="1178384" y="4271714"/>
                </a:lnTo>
                <a:lnTo>
                  <a:pt x="1177294" y="4266170"/>
                </a:lnTo>
                <a:cubicBezTo>
                  <a:pt x="1177138" y="4260404"/>
                  <a:pt x="1177520" y="4242660"/>
                  <a:pt x="1177448" y="4237120"/>
                </a:cubicBezTo>
                <a:cubicBezTo>
                  <a:pt x="1177252" y="4235726"/>
                  <a:pt x="1177058" y="4234331"/>
                  <a:pt x="1176863" y="4232937"/>
                </a:cubicBezTo>
                <a:lnTo>
                  <a:pt x="1162386" y="4198811"/>
                </a:lnTo>
                <a:cubicBezTo>
                  <a:pt x="1162950" y="4194190"/>
                  <a:pt x="1174655" y="4191224"/>
                  <a:pt x="1174343" y="4184054"/>
                </a:cubicBezTo>
                <a:lnTo>
                  <a:pt x="1160516" y="4155792"/>
                </a:lnTo>
                <a:lnTo>
                  <a:pt x="1161365" y="4150364"/>
                </a:lnTo>
                <a:lnTo>
                  <a:pt x="1144878" y="4068165"/>
                </a:lnTo>
                <a:lnTo>
                  <a:pt x="1123687" y="3997737"/>
                </a:lnTo>
                <a:lnTo>
                  <a:pt x="1096720" y="3746801"/>
                </a:lnTo>
                <a:cubicBezTo>
                  <a:pt x="1083618" y="3632695"/>
                  <a:pt x="1064313" y="3629437"/>
                  <a:pt x="1047682" y="3510652"/>
                </a:cubicBezTo>
                <a:cubicBezTo>
                  <a:pt x="1048550" y="3470281"/>
                  <a:pt x="1049418" y="3429910"/>
                  <a:pt x="1050285" y="3389539"/>
                </a:cubicBezTo>
                <a:lnTo>
                  <a:pt x="1030166" y="3314219"/>
                </a:lnTo>
                <a:lnTo>
                  <a:pt x="1034128" y="3253967"/>
                </a:lnTo>
                <a:lnTo>
                  <a:pt x="1007751" y="3192563"/>
                </a:lnTo>
                <a:cubicBezTo>
                  <a:pt x="1003323" y="3186732"/>
                  <a:pt x="1001150" y="3181063"/>
                  <a:pt x="1000384" y="3175520"/>
                </a:cubicBezTo>
                <a:cubicBezTo>
                  <a:pt x="1000734" y="3170366"/>
                  <a:pt x="1001085" y="3165212"/>
                  <a:pt x="1001435" y="3160058"/>
                </a:cubicBezTo>
                <a:lnTo>
                  <a:pt x="968918" y="3106456"/>
                </a:lnTo>
                <a:cubicBezTo>
                  <a:pt x="957125" y="3086347"/>
                  <a:pt x="955617" y="3059144"/>
                  <a:pt x="934483" y="3025607"/>
                </a:cubicBezTo>
                <a:cubicBezTo>
                  <a:pt x="914631" y="2991085"/>
                  <a:pt x="908933" y="2999692"/>
                  <a:pt x="879229" y="2942341"/>
                </a:cubicBezTo>
                <a:cubicBezTo>
                  <a:pt x="850845" y="2891400"/>
                  <a:pt x="820829" y="2801223"/>
                  <a:pt x="798666" y="2755714"/>
                </a:cubicBezTo>
                <a:cubicBezTo>
                  <a:pt x="773970" y="2709171"/>
                  <a:pt x="758278" y="2710053"/>
                  <a:pt x="746962" y="2689587"/>
                </a:cubicBezTo>
                <a:lnTo>
                  <a:pt x="712796" y="2609586"/>
                </a:lnTo>
                <a:lnTo>
                  <a:pt x="697701" y="2594856"/>
                </a:lnTo>
                <a:cubicBezTo>
                  <a:pt x="697743" y="2593626"/>
                  <a:pt x="697784" y="2592396"/>
                  <a:pt x="697823" y="2591165"/>
                </a:cubicBezTo>
                <a:lnTo>
                  <a:pt x="679645" y="2567493"/>
                </a:lnTo>
                <a:lnTo>
                  <a:pt x="680789" y="2566723"/>
                </a:lnTo>
                <a:cubicBezTo>
                  <a:pt x="682946" y="2564457"/>
                  <a:pt x="683757" y="2561765"/>
                  <a:pt x="681771" y="2558109"/>
                </a:cubicBezTo>
                <a:cubicBezTo>
                  <a:pt x="705290" y="2557210"/>
                  <a:pt x="688388" y="2553357"/>
                  <a:pt x="680456" y="2542663"/>
                </a:cubicBezTo>
                <a:cubicBezTo>
                  <a:pt x="679482" y="2529115"/>
                  <a:pt x="677183" y="2488664"/>
                  <a:pt x="675922" y="2476820"/>
                </a:cubicBezTo>
                <a:lnTo>
                  <a:pt x="672894" y="2471591"/>
                </a:lnTo>
                <a:lnTo>
                  <a:pt x="673143" y="2471379"/>
                </a:lnTo>
                <a:cubicBezTo>
                  <a:pt x="673152" y="2470017"/>
                  <a:pt x="672405" y="2468214"/>
                  <a:pt x="670567" y="2465654"/>
                </a:cubicBezTo>
                <a:lnTo>
                  <a:pt x="667369" y="2462052"/>
                </a:lnTo>
                <a:lnTo>
                  <a:pt x="661495" y="2451906"/>
                </a:lnTo>
                <a:cubicBezTo>
                  <a:pt x="661510" y="2450510"/>
                  <a:pt x="661525" y="2449113"/>
                  <a:pt x="661540" y="2447717"/>
                </a:cubicBezTo>
                <a:lnTo>
                  <a:pt x="664540" y="2445047"/>
                </a:lnTo>
                <a:lnTo>
                  <a:pt x="663581" y="2444265"/>
                </a:lnTo>
                <a:cubicBezTo>
                  <a:pt x="653014" y="2439598"/>
                  <a:pt x="642406" y="2441014"/>
                  <a:pt x="663129" y="2421760"/>
                </a:cubicBezTo>
                <a:cubicBezTo>
                  <a:pt x="643271" y="2409372"/>
                  <a:pt x="657229" y="2399993"/>
                  <a:pt x="650205" y="2375201"/>
                </a:cubicBezTo>
                <a:cubicBezTo>
                  <a:pt x="634911" y="2369643"/>
                  <a:pt x="634260" y="2360648"/>
                  <a:pt x="638008" y="2350147"/>
                </a:cubicBezTo>
                <a:cubicBezTo>
                  <a:pt x="621083" y="2329939"/>
                  <a:pt x="620949" y="2305558"/>
                  <a:pt x="609851" y="2279762"/>
                </a:cubicBezTo>
                <a:lnTo>
                  <a:pt x="585585" y="2151458"/>
                </a:lnTo>
                <a:lnTo>
                  <a:pt x="581391" y="2148616"/>
                </a:lnTo>
                <a:cubicBezTo>
                  <a:pt x="578821" y="2146496"/>
                  <a:pt x="577525" y="2144881"/>
                  <a:pt x="577083" y="2143541"/>
                </a:cubicBezTo>
                <a:lnTo>
                  <a:pt x="577251" y="2143279"/>
                </a:lnTo>
                <a:lnTo>
                  <a:pt x="546845" y="2081459"/>
                </a:lnTo>
                <a:cubicBezTo>
                  <a:pt x="538270" y="2069798"/>
                  <a:pt x="486356" y="1952009"/>
                  <a:pt x="470837" y="1927526"/>
                </a:cubicBezTo>
                <a:lnTo>
                  <a:pt x="428154" y="1653876"/>
                </a:lnTo>
                <a:lnTo>
                  <a:pt x="392797" y="1507176"/>
                </a:lnTo>
                <a:cubicBezTo>
                  <a:pt x="380165" y="1501458"/>
                  <a:pt x="369910" y="1448213"/>
                  <a:pt x="372847" y="1437646"/>
                </a:cubicBezTo>
                <a:cubicBezTo>
                  <a:pt x="369015" y="1430935"/>
                  <a:pt x="338503" y="1373479"/>
                  <a:pt x="344479" y="1364974"/>
                </a:cubicBezTo>
                <a:cubicBezTo>
                  <a:pt x="332264" y="1339484"/>
                  <a:pt x="321736" y="1307918"/>
                  <a:pt x="299558" y="1284709"/>
                </a:cubicBezTo>
                <a:cubicBezTo>
                  <a:pt x="277380" y="1261500"/>
                  <a:pt x="259203" y="1267387"/>
                  <a:pt x="243216" y="1246922"/>
                </a:cubicBezTo>
                <a:cubicBezTo>
                  <a:pt x="227230" y="1226457"/>
                  <a:pt x="218454" y="1164523"/>
                  <a:pt x="203639" y="1161920"/>
                </a:cubicBezTo>
                <a:cubicBezTo>
                  <a:pt x="192352" y="1142649"/>
                  <a:pt x="198158" y="1131546"/>
                  <a:pt x="169195" y="1085737"/>
                </a:cubicBezTo>
                <a:cubicBezTo>
                  <a:pt x="139228" y="1000958"/>
                  <a:pt x="140891" y="967704"/>
                  <a:pt x="98775" y="908263"/>
                </a:cubicBezTo>
                <a:cubicBezTo>
                  <a:pt x="45025" y="829417"/>
                  <a:pt x="34038" y="815844"/>
                  <a:pt x="43820" y="711217"/>
                </a:cubicBezTo>
                <a:cubicBezTo>
                  <a:pt x="34816" y="658186"/>
                  <a:pt x="43273" y="612368"/>
                  <a:pt x="44748" y="590072"/>
                </a:cubicBezTo>
                <a:lnTo>
                  <a:pt x="36767" y="545639"/>
                </a:lnTo>
                <a:cubicBezTo>
                  <a:pt x="36093" y="527311"/>
                  <a:pt x="35418" y="508983"/>
                  <a:pt x="34744" y="490655"/>
                </a:cubicBezTo>
                <a:cubicBezTo>
                  <a:pt x="34670" y="457530"/>
                  <a:pt x="29296" y="472114"/>
                  <a:pt x="29222" y="438989"/>
                </a:cubicBezTo>
                <a:cubicBezTo>
                  <a:pt x="29152" y="438889"/>
                  <a:pt x="2578" y="396379"/>
                  <a:pt x="2507" y="396276"/>
                </a:cubicBezTo>
                <a:cubicBezTo>
                  <a:pt x="-7796" y="384713"/>
                  <a:pt x="17492" y="336163"/>
                  <a:pt x="9810" y="316602"/>
                </a:cubicBezTo>
                <a:lnTo>
                  <a:pt x="25323" y="268307"/>
                </a:lnTo>
                <a:cubicBezTo>
                  <a:pt x="20582" y="240926"/>
                  <a:pt x="55391" y="238035"/>
                  <a:pt x="50278" y="194719"/>
                </a:cubicBezTo>
                <a:cubicBezTo>
                  <a:pt x="49891" y="157325"/>
                  <a:pt x="41873" y="124589"/>
                  <a:pt x="47653" y="93227"/>
                </a:cubicBezTo>
                <a:cubicBezTo>
                  <a:pt x="41389" y="80085"/>
                  <a:pt x="38874" y="67855"/>
                  <a:pt x="48323" y="56555"/>
                </a:cubicBezTo>
                <a:cubicBezTo>
                  <a:pt x="46028" y="30289"/>
                  <a:pt x="37896" y="18621"/>
                  <a:pt x="38423" y="5312"/>
                </a:cubicBezTo>
                <a:lnTo>
                  <a:pt x="39875" y="1"/>
                </a:lnTo>
                <a:close/>
              </a:path>
            </a:pathLst>
          </a:cu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F2518D33-BC34-F3D9-D247-21D2FEE6D19A}"/>
              </a:ext>
            </a:extLst>
          </p:cNvPr>
          <p:cNvSpPr txBox="1">
            <a:spLocks/>
          </p:cNvSpPr>
          <p:nvPr/>
        </p:nvSpPr>
        <p:spPr>
          <a:xfrm>
            <a:off x="6292884" y="-697147"/>
            <a:ext cx="4511664" cy="264024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110000"/>
              </a:lnSpc>
              <a:spcBef>
                <a:spcPct val="0"/>
              </a:spcBef>
              <a:buNone/>
              <a:defRPr sz="2800" kern="1200" cap="all" spc="6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Batang" panose="02030600000101010101" pitchFamily="18" charset="-127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all" spc="60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Bahnschrift" panose="020B0502040204020203" pitchFamily="34" charset="0"/>
                <a:ea typeface="Batang" panose="02030600000101010101" pitchFamily="18" charset="-127"/>
                <a:cs typeface="+mj-cs"/>
              </a:rPr>
              <a:t>MEsA redonda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0D9BC5D-02CD-3D64-4689-D1DBF5D26B3A}"/>
              </a:ext>
            </a:extLst>
          </p:cNvPr>
          <p:cNvSpPr txBox="1">
            <a:spLocks/>
          </p:cNvSpPr>
          <p:nvPr/>
        </p:nvSpPr>
        <p:spPr>
          <a:xfrm>
            <a:off x="5856684" y="5980304"/>
            <a:ext cx="5746015" cy="9553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80000"/>
              <a:buFont typeface="Arial" panose="020B0604020202020204" pitchFamily="34" charset="0"/>
              <a:buChar char="•"/>
              <a:defRPr sz="2000" kern="1200" spc="5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Batang" panose="02030600000101010101" pitchFamily="18" charset="-127"/>
                <a:cs typeface="+mn-cs"/>
              </a:defRPr>
            </a:lvl1pPr>
            <a:lvl2pPr marL="27432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Tx/>
              <a:buNone/>
              <a:defRPr sz="1800" kern="1200" spc="5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Batang" panose="02030600000101010101" pitchFamily="18" charset="-127"/>
                <a:cs typeface="+mn-cs"/>
              </a:defRPr>
            </a:lvl2pPr>
            <a:lvl3pPr marL="60579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80000"/>
              <a:buFont typeface="Arial" panose="020B0604020202020204" pitchFamily="34" charset="0"/>
              <a:buChar char="•"/>
              <a:defRPr sz="1600" kern="1200" spc="5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Batang" panose="02030600000101010101" pitchFamily="18" charset="-127"/>
                <a:cs typeface="+mn-cs"/>
              </a:defRPr>
            </a:lvl3pPr>
            <a:lvl4pPr marL="630936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Tx/>
              <a:buNone/>
              <a:defRPr sz="1400" kern="1200" spc="5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Batang" panose="02030600000101010101" pitchFamily="18" charset="-127"/>
                <a:cs typeface="+mn-cs"/>
              </a:defRPr>
            </a:lvl4pPr>
            <a:lvl5pPr marL="82296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80000"/>
              <a:buFont typeface="Arial" panose="020B0604020202020204" pitchFamily="34" charset="0"/>
              <a:buChar char="•"/>
              <a:defRPr sz="1400" kern="1200" spc="5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Batang" panose="02030600000101010101" pitchFamily="18" charset="-127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pt-BR" sz="2000" b="0" i="0" u="none" strike="noStrike" kern="1200" cap="none" spc="5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Bahnschrift SemiBold" panose="020B0502040204020203" pitchFamily="34" charset="0"/>
                <a:ea typeface="Batang" panose="02030600000101010101" pitchFamily="18" charset="-127"/>
                <a:cs typeface="+mn-cs"/>
              </a:rPr>
              <a:t>Versatilidade do Engenheiro de Alimento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pt-BR" sz="2000" b="0" i="0" u="none" strike="noStrike" kern="1200" cap="none" spc="5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Bahnschrift SemiBold" panose="020B0502040204020203" pitchFamily="34" charset="0"/>
                <a:ea typeface="Batang" panose="02030600000101010101" pitchFamily="18" charset="-127"/>
                <a:cs typeface="+mn-cs"/>
              </a:rPr>
              <a:t>19/05/2023</a:t>
            </a:r>
          </a:p>
        </p:txBody>
      </p:sp>
      <p:pic>
        <p:nvPicPr>
          <p:cNvPr id="8" name="Picture 2" descr="Departamento de Engenharia de Alimentos (ZEA) | FZEA-USP">
            <a:extLst>
              <a:ext uri="{FF2B5EF4-FFF2-40B4-BE49-F238E27FC236}">
                <a16:creationId xmlns:a16="http://schemas.microsoft.com/office/drawing/2014/main" id="{085D88B2-0E58-D96C-31C8-6D38D2B2D5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7341" y="4873330"/>
            <a:ext cx="1693709" cy="17080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m 35" descr="fig7">
            <a:extLst>
              <a:ext uri="{FF2B5EF4-FFF2-40B4-BE49-F238E27FC236}">
                <a16:creationId xmlns:a16="http://schemas.microsoft.com/office/drawing/2014/main" id="{E3D9E188-726B-31B0-A254-DD6FCF2D87F6}"/>
              </a:ext>
            </a:extLst>
          </p:cNvPr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445" y="5060802"/>
            <a:ext cx="1947721" cy="1549548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3F9F728-EAD8-1D63-FF8A-973734C11357}"/>
              </a:ext>
            </a:extLst>
          </p:cNvPr>
          <p:cNvSpPr txBox="1"/>
          <p:nvPr/>
        </p:nvSpPr>
        <p:spPr>
          <a:xfrm>
            <a:off x="534411" y="1932310"/>
            <a:ext cx="3407640" cy="17328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Convidados: </a:t>
            </a:r>
            <a:br>
              <a:rPr kumimoji="0" lang="pt-BR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</a:br>
            <a:r>
              <a:rPr kumimoji="0" lang="pt-BR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Edmur neto</a:t>
            </a: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Ismael zawit</a:t>
            </a:r>
            <a:br>
              <a:rPr kumimoji="0" lang="pt-BR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</a:br>
            <a:r>
              <a:rPr kumimoji="0" lang="pt-BR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Marcela Spatti</a:t>
            </a: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Matheus curcio</a:t>
            </a:r>
            <a:br>
              <a:rPr kumimoji="0" lang="pt-BR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</a:br>
            <a:r>
              <a:rPr kumimoji="0" lang="pt-BR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Matheus Zanatta</a:t>
            </a:r>
            <a:endParaRPr kumimoji="0" lang="pt-BR" b="1" i="0" u="none" strike="noStrike" kern="1200" cap="all" spc="600" normalizeH="0" baseline="0" noProof="0" dirty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Talita comunian</a:t>
            </a:r>
            <a:endParaRPr kumimoji="0" lang="pt-BR" sz="1200" b="1" i="0" u="none" strike="noStrike" kern="1200" cap="all" spc="600" normalizeH="0" baseline="0" noProof="0" dirty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590746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" name="Google Shape;156;g1e2fb608f8b_0_6"/>
          <p:cNvSpPr/>
          <p:nvPr/>
        </p:nvSpPr>
        <p:spPr>
          <a:xfrm>
            <a:off x="-4075" y="933450"/>
            <a:ext cx="3399000" cy="4948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57" name="Google Shape;157;g1e2fb608f8b_0_6" descr="Shape&#10;&#10;Description automatically generated with low confidence"/>
          <p:cNvPicPr preferRelativeResize="0"/>
          <p:nvPr/>
        </p:nvPicPr>
        <p:blipFill rotWithShape="1">
          <a:blip r:embed="rId3">
            <a:alphaModFix/>
          </a:blip>
          <a:srcRect b="8265"/>
          <a:stretch/>
        </p:blipFill>
        <p:spPr>
          <a:xfrm>
            <a:off x="11443306" y="6220980"/>
            <a:ext cx="457468" cy="419670"/>
          </a:xfrm>
          <a:prstGeom prst="rect">
            <a:avLst/>
          </a:prstGeom>
          <a:noFill/>
          <a:ln>
            <a:noFill/>
          </a:ln>
        </p:spPr>
      </p:pic>
      <p:sp>
        <p:nvSpPr>
          <p:cNvPr id="158" name="Google Shape;158;g1e2fb608f8b_0_6"/>
          <p:cNvSpPr txBox="1"/>
          <p:nvPr/>
        </p:nvSpPr>
        <p:spPr>
          <a:xfrm>
            <a:off x="-177125" y="4130725"/>
            <a:ext cx="3745200" cy="1077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r>
              <a:rPr lang="pt-BR" sz="1600">
                <a:latin typeface="Calibri"/>
                <a:ea typeface="Calibri"/>
                <a:cs typeface="Calibri"/>
                <a:sym typeface="Calibri"/>
              </a:rPr>
              <a:t>Marcela Spatti | Alada</a:t>
            </a:r>
            <a:endParaRPr/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r>
              <a:rPr lang="pt-BR" sz="1600">
                <a:latin typeface="Calibri"/>
                <a:ea typeface="Calibri"/>
                <a:cs typeface="Calibri"/>
                <a:sym typeface="Calibri"/>
              </a:rPr>
              <a:t>25 anos </a:t>
            </a:r>
            <a:endParaRPr/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r>
              <a:rPr lang="pt-BR" sz="16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urma XVI </a:t>
            </a:r>
            <a:r>
              <a:rPr lang="pt-BR" sz="16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br>
              <a:rPr lang="pt-BR" sz="16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600">
                <a:latin typeface="Calibri"/>
                <a:ea typeface="Calibri"/>
                <a:cs typeface="Calibri"/>
                <a:sym typeface="Calibri"/>
              </a:rPr>
              <a:t>Analista SSR de Planejamento</a:t>
            </a:r>
            <a:endParaRPr sz="160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9" name="Google Shape;159;g1e2fb608f8b_0_6"/>
          <p:cNvSpPr/>
          <p:nvPr/>
        </p:nvSpPr>
        <p:spPr>
          <a:xfrm>
            <a:off x="141387" y="1028284"/>
            <a:ext cx="2987700" cy="29778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0" name="Google Shape;160;g1e2fb608f8b_0_6"/>
          <p:cNvSpPr/>
          <p:nvPr/>
        </p:nvSpPr>
        <p:spPr>
          <a:xfrm rot="5400000">
            <a:off x="7190574" y="894342"/>
            <a:ext cx="1095600" cy="556800"/>
          </a:xfrm>
          <a:prstGeom prst="rect">
            <a:avLst/>
          </a:prstGeom>
          <a:solidFill>
            <a:srgbClr val="70AD47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1" name="Google Shape;161;g1e2fb608f8b_0_6"/>
          <p:cNvSpPr/>
          <p:nvPr/>
        </p:nvSpPr>
        <p:spPr>
          <a:xfrm rot="5400000">
            <a:off x="7190571" y="1989850"/>
            <a:ext cx="1095600" cy="5568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2" name="Google Shape;162;g1e2fb608f8b_0_6"/>
          <p:cNvSpPr/>
          <p:nvPr/>
        </p:nvSpPr>
        <p:spPr>
          <a:xfrm rot="5400000">
            <a:off x="7190568" y="3085359"/>
            <a:ext cx="1095600" cy="556800"/>
          </a:xfrm>
          <a:prstGeom prst="rect">
            <a:avLst/>
          </a:prstGeom>
          <a:solidFill>
            <a:srgbClr val="E78B0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3" name="Google Shape;163;g1e2fb608f8b_0_6"/>
          <p:cNvSpPr/>
          <p:nvPr/>
        </p:nvSpPr>
        <p:spPr>
          <a:xfrm rot="5400000">
            <a:off x="7190564" y="4180866"/>
            <a:ext cx="1095600" cy="556800"/>
          </a:xfrm>
          <a:prstGeom prst="rect">
            <a:avLst/>
          </a:prstGeom>
          <a:solidFill>
            <a:srgbClr val="A2AD8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4" name="Google Shape;164;g1e2fb608f8b_0_6"/>
          <p:cNvSpPr/>
          <p:nvPr/>
        </p:nvSpPr>
        <p:spPr>
          <a:xfrm rot="5400000">
            <a:off x="6794125" y="5672826"/>
            <a:ext cx="1888500" cy="556800"/>
          </a:xfrm>
          <a:prstGeom prst="rect">
            <a:avLst/>
          </a:prstGeom>
          <a:solidFill>
            <a:srgbClr val="756E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5" name="Google Shape;165;g1e2fb608f8b_0_6"/>
          <p:cNvSpPr/>
          <p:nvPr/>
        </p:nvSpPr>
        <p:spPr>
          <a:xfrm>
            <a:off x="5366086" y="390419"/>
            <a:ext cx="1564500" cy="15645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6" name="Google Shape;166;g1e2fb608f8b_0_6"/>
          <p:cNvSpPr/>
          <p:nvPr/>
        </p:nvSpPr>
        <p:spPr>
          <a:xfrm>
            <a:off x="8544050" y="1475194"/>
            <a:ext cx="1564500" cy="15645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7" name="Google Shape;167;g1e2fb608f8b_0_6"/>
          <p:cNvSpPr/>
          <p:nvPr/>
        </p:nvSpPr>
        <p:spPr>
          <a:xfrm>
            <a:off x="5376670" y="2581435"/>
            <a:ext cx="1564500" cy="15645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8" name="Google Shape;168;g1e2fb608f8b_0_6"/>
          <p:cNvSpPr/>
          <p:nvPr/>
        </p:nvSpPr>
        <p:spPr>
          <a:xfrm>
            <a:off x="8548269" y="3694648"/>
            <a:ext cx="1564500" cy="15645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9" name="Google Shape;169;g1e2fb608f8b_0_6"/>
          <p:cNvSpPr/>
          <p:nvPr/>
        </p:nvSpPr>
        <p:spPr>
          <a:xfrm>
            <a:off x="5393426" y="4772451"/>
            <a:ext cx="1564500" cy="15645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0" name="Google Shape;170;g1e2fb608f8b_0_6"/>
          <p:cNvSpPr/>
          <p:nvPr/>
        </p:nvSpPr>
        <p:spPr>
          <a:xfrm>
            <a:off x="8016763" y="2281486"/>
            <a:ext cx="540600" cy="753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1" name="Google Shape;171;g1e2fb608f8b_0_6"/>
          <p:cNvSpPr/>
          <p:nvPr/>
        </p:nvSpPr>
        <p:spPr>
          <a:xfrm>
            <a:off x="6922736" y="1172696"/>
            <a:ext cx="540600" cy="75300"/>
          </a:xfrm>
          <a:prstGeom prst="rect">
            <a:avLst/>
          </a:prstGeom>
          <a:solidFill>
            <a:srgbClr val="70AD47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2" name="Google Shape;172;g1e2fb608f8b_0_6"/>
          <p:cNvSpPr/>
          <p:nvPr/>
        </p:nvSpPr>
        <p:spPr>
          <a:xfrm>
            <a:off x="8016763" y="4477947"/>
            <a:ext cx="540600" cy="75300"/>
          </a:xfrm>
          <a:prstGeom prst="rect">
            <a:avLst/>
          </a:prstGeom>
          <a:solidFill>
            <a:srgbClr val="A2AD8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3" name="Google Shape;173;g1e2fb608f8b_0_6"/>
          <p:cNvSpPr/>
          <p:nvPr/>
        </p:nvSpPr>
        <p:spPr>
          <a:xfrm>
            <a:off x="6934489" y="3326805"/>
            <a:ext cx="540600" cy="75300"/>
          </a:xfrm>
          <a:prstGeom prst="rect">
            <a:avLst/>
          </a:prstGeom>
          <a:solidFill>
            <a:srgbClr val="E78B0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4" name="Google Shape;174;g1e2fb608f8b_0_6"/>
          <p:cNvSpPr/>
          <p:nvPr/>
        </p:nvSpPr>
        <p:spPr>
          <a:xfrm>
            <a:off x="6957980" y="5553409"/>
            <a:ext cx="540600" cy="75300"/>
          </a:xfrm>
          <a:prstGeom prst="rect">
            <a:avLst/>
          </a:prstGeom>
          <a:solidFill>
            <a:srgbClr val="756E3B"/>
          </a:solidFill>
          <a:ln w="9525" cap="flat" cmpd="sng">
            <a:solidFill>
              <a:srgbClr val="756E3B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5" name="Google Shape;175;g1e2fb608f8b_0_6"/>
          <p:cNvSpPr/>
          <p:nvPr/>
        </p:nvSpPr>
        <p:spPr>
          <a:xfrm>
            <a:off x="7657434" y="1178710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6" name="Google Shape;176;g1e2fb608f8b_0_6"/>
          <p:cNvSpPr/>
          <p:nvPr/>
        </p:nvSpPr>
        <p:spPr>
          <a:xfrm>
            <a:off x="7657434" y="2229229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7" name="Google Shape;177;g1e2fb608f8b_0_6"/>
          <p:cNvSpPr/>
          <p:nvPr/>
        </p:nvSpPr>
        <p:spPr>
          <a:xfrm>
            <a:off x="7649433" y="3243774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8" name="Google Shape;178;g1e2fb608f8b_0_6"/>
          <p:cNvSpPr/>
          <p:nvPr/>
        </p:nvSpPr>
        <p:spPr>
          <a:xfrm>
            <a:off x="7649432" y="4456565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9" name="Google Shape;179;g1e2fb608f8b_0_6"/>
          <p:cNvSpPr/>
          <p:nvPr/>
        </p:nvSpPr>
        <p:spPr>
          <a:xfrm>
            <a:off x="7649432" y="5512741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0" name="Google Shape;180;g1e2fb608f8b_0_6"/>
          <p:cNvSpPr txBox="1"/>
          <p:nvPr/>
        </p:nvSpPr>
        <p:spPr>
          <a:xfrm>
            <a:off x="3722398" y="917342"/>
            <a:ext cx="1957200" cy="4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Calibri"/>
              <a:buNone/>
            </a:pPr>
            <a:r>
              <a:rPr lang="pt-BR" sz="1100" b="1">
                <a:latin typeface="Calibri"/>
                <a:ea typeface="Calibri"/>
                <a:cs typeface="Calibri"/>
                <a:sym typeface="Calibri"/>
              </a:rPr>
              <a:t>Ingresso USP</a:t>
            </a:r>
            <a:br>
              <a:rPr lang="pt-BR" sz="11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000" i="1">
                <a:latin typeface="Calibri"/>
                <a:ea typeface="Calibri"/>
                <a:cs typeface="Calibri"/>
                <a:sym typeface="Calibri"/>
              </a:rPr>
              <a:t>2016</a:t>
            </a:r>
            <a:endParaRPr sz="11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1" name="Google Shape;181;g1e2fb608f8b_0_6"/>
          <p:cNvSpPr txBox="1"/>
          <p:nvPr/>
        </p:nvSpPr>
        <p:spPr>
          <a:xfrm>
            <a:off x="10041424" y="2013785"/>
            <a:ext cx="1957200" cy="4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Calibri"/>
              <a:buNone/>
            </a:pPr>
            <a:r>
              <a:rPr lang="pt-BR" sz="1100" b="1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In</a:t>
            </a:r>
            <a:r>
              <a:rPr lang="pt-BR" sz="1100" b="1">
                <a:latin typeface="Calibri"/>
                <a:ea typeface="Calibri"/>
                <a:cs typeface="Calibri"/>
                <a:sym typeface="Calibri"/>
              </a:rPr>
              <a:t>ício Tarja Preta</a:t>
            </a:r>
            <a:br>
              <a:rPr lang="pt-BR" sz="11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000" i="1">
                <a:latin typeface="Calibri"/>
                <a:ea typeface="Calibri"/>
                <a:cs typeface="Calibri"/>
                <a:sym typeface="Calibri"/>
              </a:rPr>
              <a:t>2017</a:t>
            </a:r>
            <a:endParaRPr sz="11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2" name="Google Shape;182;g1e2fb608f8b_0_6"/>
          <p:cNvSpPr txBox="1"/>
          <p:nvPr/>
        </p:nvSpPr>
        <p:spPr>
          <a:xfrm>
            <a:off x="3790747" y="3148268"/>
            <a:ext cx="1957200" cy="4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Calibri"/>
              <a:buNone/>
            </a:pPr>
            <a:r>
              <a:rPr lang="pt-BR" sz="1100" b="1">
                <a:latin typeface="Calibri"/>
                <a:ea typeface="Calibri"/>
                <a:cs typeface="Calibri"/>
                <a:sym typeface="Calibri"/>
              </a:rPr>
              <a:t>SIICUSP</a:t>
            </a:r>
            <a:br>
              <a:rPr lang="pt-BR" sz="11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000" i="1">
                <a:latin typeface="Calibri"/>
                <a:ea typeface="Calibri"/>
                <a:cs typeface="Calibri"/>
                <a:sym typeface="Calibri"/>
              </a:rPr>
              <a:t>2017</a:t>
            </a:r>
            <a:endParaRPr sz="11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3" name="Google Shape;183;g1e2fb608f8b_0_6"/>
          <p:cNvSpPr txBox="1"/>
          <p:nvPr/>
        </p:nvSpPr>
        <p:spPr>
          <a:xfrm>
            <a:off x="10045282" y="4261481"/>
            <a:ext cx="1957200" cy="4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Calibri"/>
              <a:buNone/>
            </a:pPr>
            <a:r>
              <a:rPr lang="pt-BR" sz="1100" b="1">
                <a:latin typeface="Calibri"/>
                <a:ea typeface="Calibri"/>
                <a:cs typeface="Calibri"/>
                <a:sym typeface="Calibri"/>
              </a:rPr>
              <a:t>Enactus</a:t>
            </a:r>
            <a:endParaRPr sz="1100"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Calibri"/>
              <a:buNone/>
            </a:pPr>
            <a:r>
              <a:rPr lang="pt-BR" sz="1100">
                <a:latin typeface="Calibri"/>
                <a:ea typeface="Calibri"/>
                <a:cs typeface="Calibri"/>
                <a:sym typeface="Calibri"/>
              </a:rPr>
              <a:t>2018</a:t>
            </a:r>
            <a:endParaRPr sz="110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4" name="Google Shape;184;g1e2fb608f8b_0_6"/>
          <p:cNvSpPr txBox="1"/>
          <p:nvPr/>
        </p:nvSpPr>
        <p:spPr>
          <a:xfrm>
            <a:off x="3427966" y="5466792"/>
            <a:ext cx="1957200" cy="4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</a:pPr>
            <a:r>
              <a:rPr lang="pt-BR" sz="11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tercâmbio - Egito</a:t>
            </a:r>
            <a:br>
              <a:rPr lang="pt-BR" sz="11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000" i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IESEC | 2019</a:t>
            </a:r>
            <a:endParaRPr sz="11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5" name="Google Shape;185;g1e2fb608f8b_0_6"/>
          <p:cNvSpPr/>
          <p:nvPr/>
        </p:nvSpPr>
        <p:spPr>
          <a:xfrm>
            <a:off x="11900775" y="933450"/>
            <a:ext cx="291300" cy="49488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86" name="Google Shape;186;g1e2fb608f8b_0_6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41581" y="1036317"/>
            <a:ext cx="2987700" cy="2983200"/>
          </a:xfrm>
          <a:prstGeom prst="ellipse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"/>
            <a:headEnd type="none" w="sm" len="sm"/>
            <a:tailEnd type="none" w="sm" len="sm"/>
          </a:ln>
        </p:spPr>
      </p:pic>
      <p:pic>
        <p:nvPicPr>
          <p:cNvPr id="187" name="Google Shape;187;g1e2fb608f8b_0_6"/>
          <p:cNvPicPr preferRelativeResize="0"/>
          <p:nvPr/>
        </p:nvPicPr>
        <p:blipFill rotWithShape="1">
          <a:blip r:embed="rId5">
            <a:alphaModFix/>
          </a:blip>
          <a:srcRect t="9108" b="14027"/>
          <a:stretch/>
        </p:blipFill>
        <p:spPr>
          <a:xfrm>
            <a:off x="5230600" y="2394443"/>
            <a:ext cx="1957200" cy="1976400"/>
          </a:xfrm>
          <a:prstGeom prst="ellipse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188" name="Google Shape;188;g1e2fb608f8b_0_6"/>
          <p:cNvPicPr preferRelativeResize="0"/>
          <p:nvPr/>
        </p:nvPicPr>
        <p:blipFill rotWithShape="1">
          <a:blip r:embed="rId6">
            <a:alphaModFix/>
          </a:blip>
          <a:srcRect l="3859" r="25578" b="10047"/>
          <a:stretch/>
        </p:blipFill>
        <p:spPr>
          <a:xfrm>
            <a:off x="8507320" y="3598422"/>
            <a:ext cx="1957200" cy="1834800"/>
          </a:xfrm>
          <a:prstGeom prst="ellipse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189" name="Google Shape;189;g1e2fb608f8b_0_6"/>
          <p:cNvPicPr preferRelativeResize="0"/>
          <p:nvPr/>
        </p:nvPicPr>
        <p:blipFill rotWithShape="1">
          <a:blip r:embed="rId7">
            <a:alphaModFix/>
          </a:blip>
          <a:srcRect l="9104" t="38928" r="15149" b="5140"/>
          <a:stretch/>
        </p:blipFill>
        <p:spPr>
          <a:xfrm>
            <a:off x="5146200" y="4607018"/>
            <a:ext cx="2041500" cy="1976400"/>
          </a:xfrm>
          <a:prstGeom prst="ellipse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190" name="Google Shape;190;g1e2fb608f8b_0_6"/>
          <p:cNvPicPr preferRelativeResize="0"/>
          <p:nvPr/>
        </p:nvPicPr>
        <p:blipFill rotWithShape="1">
          <a:blip r:embed="rId8">
            <a:alphaModFix/>
          </a:blip>
          <a:srcRect l="17599" r="8232"/>
          <a:stretch/>
        </p:blipFill>
        <p:spPr>
          <a:xfrm>
            <a:off x="5146200" y="234200"/>
            <a:ext cx="1957200" cy="1976400"/>
          </a:xfrm>
          <a:prstGeom prst="ellipse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191" name="Google Shape;191;g1e2fb608f8b_0_6"/>
          <p:cNvPicPr preferRelativeResize="0"/>
          <p:nvPr/>
        </p:nvPicPr>
        <p:blipFill rotWithShape="1">
          <a:blip r:embed="rId9">
            <a:alphaModFix/>
          </a:blip>
          <a:srcRect l="8966" t="23918" r="7393" b="25525"/>
          <a:stretch/>
        </p:blipFill>
        <p:spPr>
          <a:xfrm>
            <a:off x="8513716" y="1292351"/>
            <a:ext cx="1838700" cy="1976400"/>
          </a:xfrm>
          <a:prstGeom prst="ellipse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" name="Google Shape;196;g1e2fb608f8b_0_42"/>
          <p:cNvSpPr/>
          <p:nvPr/>
        </p:nvSpPr>
        <p:spPr>
          <a:xfrm>
            <a:off x="8668476" y="6337162"/>
            <a:ext cx="1311900" cy="3579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</a:pPr>
            <a:endParaRPr sz="32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97" name="Google Shape;197;g1e2fb608f8b_0_42" descr="Shape&#10;&#10;Description automatically generated with low confidence"/>
          <p:cNvPicPr preferRelativeResize="0"/>
          <p:nvPr/>
        </p:nvPicPr>
        <p:blipFill rotWithShape="1">
          <a:blip r:embed="rId3">
            <a:alphaModFix/>
          </a:blip>
          <a:srcRect b="8265"/>
          <a:stretch/>
        </p:blipFill>
        <p:spPr>
          <a:xfrm>
            <a:off x="11443306" y="6220980"/>
            <a:ext cx="457468" cy="419670"/>
          </a:xfrm>
          <a:prstGeom prst="rect">
            <a:avLst/>
          </a:prstGeom>
          <a:noFill/>
          <a:ln>
            <a:noFill/>
          </a:ln>
        </p:spPr>
      </p:pic>
      <p:sp>
        <p:nvSpPr>
          <p:cNvPr id="198" name="Google Shape;198;g1e2fb608f8b_0_42"/>
          <p:cNvSpPr/>
          <p:nvPr/>
        </p:nvSpPr>
        <p:spPr>
          <a:xfrm rot="5400000">
            <a:off x="6775675" y="631650"/>
            <a:ext cx="1925400" cy="556800"/>
          </a:xfrm>
          <a:prstGeom prst="rect">
            <a:avLst/>
          </a:prstGeom>
          <a:solidFill>
            <a:srgbClr val="756E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9" name="Google Shape;199;g1e2fb608f8b_0_42"/>
          <p:cNvSpPr/>
          <p:nvPr/>
        </p:nvSpPr>
        <p:spPr>
          <a:xfrm rot="5400000">
            <a:off x="7190571" y="2142250"/>
            <a:ext cx="1095600" cy="5568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0" name="Google Shape;200;g1e2fb608f8b_0_42"/>
          <p:cNvSpPr/>
          <p:nvPr/>
        </p:nvSpPr>
        <p:spPr>
          <a:xfrm rot="5400000">
            <a:off x="7190568" y="3237759"/>
            <a:ext cx="1095600" cy="556800"/>
          </a:xfrm>
          <a:prstGeom prst="rect">
            <a:avLst/>
          </a:prstGeom>
          <a:solidFill>
            <a:srgbClr val="E78B0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1" name="Google Shape;201;g1e2fb608f8b_0_42"/>
          <p:cNvSpPr/>
          <p:nvPr/>
        </p:nvSpPr>
        <p:spPr>
          <a:xfrm rot="5400000">
            <a:off x="7190564" y="4333266"/>
            <a:ext cx="1095600" cy="556800"/>
          </a:xfrm>
          <a:prstGeom prst="rect">
            <a:avLst/>
          </a:prstGeom>
          <a:solidFill>
            <a:srgbClr val="A2AD8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2" name="Google Shape;202;g1e2fb608f8b_0_42"/>
          <p:cNvSpPr/>
          <p:nvPr/>
        </p:nvSpPr>
        <p:spPr>
          <a:xfrm rot="5400000">
            <a:off x="7190564" y="5428774"/>
            <a:ext cx="1095600" cy="556800"/>
          </a:xfrm>
          <a:prstGeom prst="rect">
            <a:avLst/>
          </a:prstGeom>
          <a:solidFill>
            <a:srgbClr val="70AD47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3" name="Google Shape;203;g1e2fb608f8b_0_42"/>
          <p:cNvSpPr/>
          <p:nvPr/>
        </p:nvSpPr>
        <p:spPr>
          <a:xfrm>
            <a:off x="8544050" y="1627594"/>
            <a:ext cx="1564500" cy="15645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4" name="Google Shape;204;g1e2fb608f8b_0_42"/>
          <p:cNvSpPr/>
          <p:nvPr/>
        </p:nvSpPr>
        <p:spPr>
          <a:xfrm>
            <a:off x="5376670" y="2733835"/>
            <a:ext cx="1564500" cy="15645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5" name="Google Shape;205;g1e2fb608f8b_0_42"/>
          <p:cNvSpPr/>
          <p:nvPr/>
        </p:nvSpPr>
        <p:spPr>
          <a:xfrm>
            <a:off x="8548269" y="3847048"/>
            <a:ext cx="1564500" cy="15645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6" name="Google Shape;206;g1e2fb608f8b_0_42"/>
          <p:cNvSpPr/>
          <p:nvPr/>
        </p:nvSpPr>
        <p:spPr>
          <a:xfrm>
            <a:off x="5393426" y="4924851"/>
            <a:ext cx="1564500" cy="15645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7" name="Google Shape;207;g1e2fb608f8b_0_42"/>
          <p:cNvSpPr/>
          <p:nvPr/>
        </p:nvSpPr>
        <p:spPr>
          <a:xfrm>
            <a:off x="8016763" y="2433886"/>
            <a:ext cx="540600" cy="753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8" name="Google Shape;208;g1e2fb608f8b_0_42"/>
          <p:cNvSpPr/>
          <p:nvPr/>
        </p:nvSpPr>
        <p:spPr>
          <a:xfrm>
            <a:off x="8016763" y="4630347"/>
            <a:ext cx="540600" cy="75300"/>
          </a:xfrm>
          <a:prstGeom prst="rect">
            <a:avLst/>
          </a:prstGeom>
          <a:solidFill>
            <a:srgbClr val="A2AD8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9" name="Google Shape;209;g1e2fb608f8b_0_42"/>
          <p:cNvSpPr/>
          <p:nvPr/>
        </p:nvSpPr>
        <p:spPr>
          <a:xfrm>
            <a:off x="6934489" y="3479205"/>
            <a:ext cx="540600" cy="75300"/>
          </a:xfrm>
          <a:prstGeom prst="rect">
            <a:avLst/>
          </a:prstGeom>
          <a:solidFill>
            <a:srgbClr val="E78B0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0" name="Google Shape;210;g1e2fb608f8b_0_42"/>
          <p:cNvSpPr/>
          <p:nvPr/>
        </p:nvSpPr>
        <p:spPr>
          <a:xfrm>
            <a:off x="6957980" y="5705809"/>
            <a:ext cx="540600" cy="75300"/>
          </a:xfrm>
          <a:prstGeom prst="rect">
            <a:avLst/>
          </a:prstGeom>
          <a:solidFill>
            <a:srgbClr val="70AD47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1" name="Google Shape;211;g1e2fb608f8b_0_42"/>
          <p:cNvSpPr/>
          <p:nvPr/>
        </p:nvSpPr>
        <p:spPr>
          <a:xfrm>
            <a:off x="7657434" y="1331110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2" name="Google Shape;212;g1e2fb608f8b_0_42"/>
          <p:cNvSpPr/>
          <p:nvPr/>
        </p:nvSpPr>
        <p:spPr>
          <a:xfrm>
            <a:off x="7657434" y="2381629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3" name="Google Shape;213;g1e2fb608f8b_0_42"/>
          <p:cNvSpPr/>
          <p:nvPr/>
        </p:nvSpPr>
        <p:spPr>
          <a:xfrm>
            <a:off x="7649433" y="3396174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4" name="Google Shape;214;g1e2fb608f8b_0_42"/>
          <p:cNvSpPr/>
          <p:nvPr/>
        </p:nvSpPr>
        <p:spPr>
          <a:xfrm>
            <a:off x="7649432" y="4608965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5" name="Google Shape;215;g1e2fb608f8b_0_42"/>
          <p:cNvSpPr/>
          <p:nvPr/>
        </p:nvSpPr>
        <p:spPr>
          <a:xfrm>
            <a:off x="7649432" y="5665141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6" name="Google Shape;216;g1e2fb608f8b_0_42"/>
          <p:cNvSpPr txBox="1"/>
          <p:nvPr/>
        </p:nvSpPr>
        <p:spPr>
          <a:xfrm>
            <a:off x="10117624" y="2166185"/>
            <a:ext cx="1957200" cy="4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Calibri"/>
              <a:buNone/>
            </a:pPr>
            <a:r>
              <a:rPr lang="pt-BR" sz="1100" b="1">
                <a:latin typeface="Calibri"/>
                <a:ea typeface="Calibri"/>
                <a:cs typeface="Calibri"/>
                <a:sym typeface="Calibri"/>
              </a:rPr>
              <a:t>Efetivação Ambev</a:t>
            </a:r>
            <a:br>
              <a:rPr lang="pt-BR" sz="11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000" i="1">
                <a:latin typeface="Calibri"/>
                <a:ea typeface="Calibri"/>
                <a:cs typeface="Calibri"/>
                <a:sym typeface="Calibri"/>
              </a:rPr>
              <a:t>2021</a:t>
            </a:r>
            <a:endParaRPr sz="11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7" name="Google Shape;217;g1e2fb608f8b_0_42"/>
          <p:cNvSpPr txBox="1"/>
          <p:nvPr/>
        </p:nvSpPr>
        <p:spPr>
          <a:xfrm>
            <a:off x="3409747" y="3390905"/>
            <a:ext cx="1957200" cy="4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Calibri"/>
              <a:buNone/>
            </a:pPr>
            <a:r>
              <a:rPr lang="pt-BR" sz="1100" b="1">
                <a:latin typeface="Calibri"/>
                <a:ea typeface="Calibri"/>
                <a:cs typeface="Calibri"/>
                <a:sym typeface="Calibri"/>
              </a:rPr>
              <a:t>Formação Eng. Alimentos</a:t>
            </a:r>
            <a:br>
              <a:rPr lang="pt-BR" sz="11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000" i="1">
                <a:latin typeface="Calibri"/>
                <a:ea typeface="Calibri"/>
                <a:cs typeface="Calibri"/>
                <a:sym typeface="Calibri"/>
              </a:rPr>
              <a:t>2021</a:t>
            </a:r>
            <a:endParaRPr sz="11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8" name="Google Shape;218;g1e2fb608f8b_0_42"/>
          <p:cNvSpPr txBox="1"/>
          <p:nvPr/>
        </p:nvSpPr>
        <p:spPr>
          <a:xfrm>
            <a:off x="10045282" y="4413881"/>
            <a:ext cx="1957200" cy="4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Calibri"/>
              <a:buNone/>
            </a:pPr>
            <a:r>
              <a:rPr lang="pt-BR" sz="1100" b="1">
                <a:latin typeface="Calibri"/>
                <a:ea typeface="Calibri"/>
                <a:cs typeface="Calibri"/>
                <a:sym typeface="Calibri"/>
              </a:rPr>
              <a:t>Mercado Livre</a:t>
            </a:r>
            <a:br>
              <a:rPr lang="pt-BR" sz="11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000" i="1">
                <a:latin typeface="Calibri"/>
                <a:ea typeface="Calibri"/>
                <a:cs typeface="Calibri"/>
                <a:sym typeface="Calibri"/>
              </a:rPr>
              <a:t>2021</a:t>
            </a:r>
            <a:endParaRPr sz="11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9" name="Google Shape;219;g1e2fb608f8b_0_42"/>
          <p:cNvSpPr txBox="1"/>
          <p:nvPr/>
        </p:nvSpPr>
        <p:spPr>
          <a:xfrm>
            <a:off x="3732766" y="5619192"/>
            <a:ext cx="1957200" cy="4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Calibri"/>
              <a:buNone/>
            </a:pPr>
            <a:r>
              <a:rPr lang="pt-BR" sz="1100" b="1">
                <a:latin typeface="Calibri"/>
                <a:ea typeface="Calibri"/>
                <a:cs typeface="Calibri"/>
                <a:sym typeface="Calibri"/>
              </a:rPr>
              <a:t>Mercado Libre</a:t>
            </a:r>
            <a:br>
              <a:rPr lang="pt-BR" sz="11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000" i="1">
                <a:latin typeface="Calibri"/>
                <a:ea typeface="Calibri"/>
                <a:cs typeface="Calibri"/>
                <a:sym typeface="Calibri"/>
              </a:rPr>
              <a:t>2023</a:t>
            </a:r>
            <a:endParaRPr sz="11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0" name="Google Shape;220;g1e2fb608f8b_0_42"/>
          <p:cNvSpPr/>
          <p:nvPr/>
        </p:nvSpPr>
        <p:spPr>
          <a:xfrm>
            <a:off x="11900774" y="933450"/>
            <a:ext cx="291300" cy="49911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1" name="Google Shape;221;g1e2fb608f8b_0_42"/>
          <p:cNvSpPr/>
          <p:nvPr/>
        </p:nvSpPr>
        <p:spPr>
          <a:xfrm>
            <a:off x="-4081" y="933450"/>
            <a:ext cx="3399000" cy="49911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2" name="Google Shape;222;g1e2fb608f8b_0_42"/>
          <p:cNvSpPr txBox="1"/>
          <p:nvPr/>
        </p:nvSpPr>
        <p:spPr>
          <a:xfrm>
            <a:off x="-177129" y="4435523"/>
            <a:ext cx="3745200" cy="1077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r>
              <a:rPr lang="pt-BR" sz="1600">
                <a:latin typeface="Calibri"/>
                <a:ea typeface="Calibri"/>
                <a:cs typeface="Calibri"/>
                <a:sym typeface="Calibri"/>
              </a:rPr>
              <a:t>Marcela Spatti | Alada</a:t>
            </a:r>
            <a:endParaRPr/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r>
              <a:rPr lang="pt-BR" sz="1600">
                <a:latin typeface="Calibri"/>
                <a:ea typeface="Calibri"/>
                <a:cs typeface="Calibri"/>
                <a:sym typeface="Calibri"/>
              </a:rPr>
              <a:t>25 anos </a:t>
            </a:r>
            <a:endParaRPr/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r>
              <a:rPr lang="pt-BR" sz="16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urma XVI </a:t>
            </a:r>
            <a:r>
              <a:rPr lang="pt-BR" sz="16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br>
              <a:rPr lang="pt-BR" sz="16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600">
                <a:latin typeface="Calibri"/>
                <a:ea typeface="Calibri"/>
                <a:cs typeface="Calibri"/>
                <a:sym typeface="Calibri"/>
              </a:rPr>
              <a:t>Analista SSR de Planejamento</a:t>
            </a:r>
            <a:endParaRPr/>
          </a:p>
        </p:txBody>
      </p:sp>
      <p:sp>
        <p:nvSpPr>
          <p:cNvPr id="223" name="Google Shape;223;g1e2fb608f8b_0_42"/>
          <p:cNvSpPr/>
          <p:nvPr/>
        </p:nvSpPr>
        <p:spPr>
          <a:xfrm>
            <a:off x="141387" y="1256884"/>
            <a:ext cx="2987700" cy="29778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24" name="Google Shape;224;g1e2fb608f8b_0_42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41581" y="1264917"/>
            <a:ext cx="2987700" cy="2983200"/>
          </a:xfrm>
          <a:prstGeom prst="ellipse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"/>
            <a:headEnd type="none" w="sm" len="sm"/>
            <a:tailEnd type="none" w="sm" len="sm"/>
          </a:ln>
        </p:spPr>
      </p:pic>
      <p:sp>
        <p:nvSpPr>
          <p:cNvPr id="225" name="Google Shape;225;g1e2fb608f8b_0_42"/>
          <p:cNvSpPr/>
          <p:nvPr/>
        </p:nvSpPr>
        <p:spPr>
          <a:xfrm>
            <a:off x="5393426" y="581451"/>
            <a:ext cx="1564500" cy="15645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6" name="Google Shape;226;g1e2fb608f8b_0_42"/>
          <p:cNvSpPr/>
          <p:nvPr/>
        </p:nvSpPr>
        <p:spPr>
          <a:xfrm>
            <a:off x="6957980" y="1362409"/>
            <a:ext cx="540600" cy="75300"/>
          </a:xfrm>
          <a:prstGeom prst="rect">
            <a:avLst/>
          </a:prstGeom>
          <a:solidFill>
            <a:srgbClr val="756E3B"/>
          </a:solidFill>
          <a:ln w="9525" cap="flat" cmpd="sng">
            <a:solidFill>
              <a:srgbClr val="756E3B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7" name="Google Shape;227;g1e2fb608f8b_0_42"/>
          <p:cNvSpPr txBox="1"/>
          <p:nvPr/>
        </p:nvSpPr>
        <p:spPr>
          <a:xfrm>
            <a:off x="228600" y="6234363"/>
            <a:ext cx="3000000" cy="81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1500"/>
              </a:spcBef>
              <a:spcAft>
                <a:spcPts val="0"/>
              </a:spcAft>
              <a:buNone/>
            </a:pPr>
            <a:r>
              <a:rPr lang="pt-BR" sz="1300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rPr>
              <a:t>"Seja intenso, extenso, inteiro. </a:t>
            </a:r>
            <a:br>
              <a:rPr lang="pt-BR" sz="1300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rPr>
            </a:br>
            <a:r>
              <a:rPr lang="pt-BR" sz="1300">
                <a:solidFill>
                  <a:srgbClr val="888888"/>
                </a:solidFill>
                <a:latin typeface="Proxima Nova"/>
                <a:ea typeface="Proxima Nova"/>
                <a:cs typeface="Proxima Nova"/>
                <a:sym typeface="Proxima Nova"/>
              </a:rPr>
              <a:t>E, sobretudo, honesto." Queiroz, M.</a:t>
            </a:r>
            <a:endParaRPr sz="1300">
              <a:solidFill>
                <a:srgbClr val="888888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100">
              <a:solidFill>
                <a:schemeClr val="dk1"/>
              </a:solidFill>
            </a:endParaRPr>
          </a:p>
        </p:txBody>
      </p:sp>
      <p:sp>
        <p:nvSpPr>
          <p:cNvPr id="228" name="Google Shape;228;g1e2fb608f8b_0_42"/>
          <p:cNvSpPr/>
          <p:nvPr/>
        </p:nvSpPr>
        <p:spPr>
          <a:xfrm>
            <a:off x="-4075" y="933450"/>
            <a:ext cx="3399000" cy="5403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9" name="Google Shape;229;g1e2fb608f8b_0_42"/>
          <p:cNvSpPr txBox="1"/>
          <p:nvPr/>
        </p:nvSpPr>
        <p:spPr>
          <a:xfrm>
            <a:off x="-177125" y="4130725"/>
            <a:ext cx="3745200" cy="2062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r>
              <a:rPr lang="pt-BR" sz="1600" dirty="0">
                <a:latin typeface="Calibri"/>
                <a:ea typeface="Calibri"/>
                <a:cs typeface="Calibri"/>
                <a:sym typeface="Calibri"/>
              </a:rPr>
              <a:t>Marcela Spatti | Alada</a:t>
            </a:r>
            <a:endParaRPr dirty="0"/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r>
              <a:rPr lang="pt-BR" sz="1600" dirty="0">
                <a:latin typeface="Calibri"/>
                <a:ea typeface="Calibri"/>
                <a:cs typeface="Calibri"/>
                <a:sym typeface="Calibri"/>
              </a:rPr>
              <a:t>25 anos </a:t>
            </a:r>
            <a:endParaRPr dirty="0"/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r>
              <a:rPr lang="pt-BR" sz="16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urma XVI </a:t>
            </a:r>
            <a:r>
              <a:rPr lang="pt-BR" sz="16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br>
              <a:rPr lang="pt-BR" sz="16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600" dirty="0">
                <a:latin typeface="Calibri"/>
                <a:ea typeface="Calibri"/>
                <a:cs typeface="Calibri"/>
                <a:sym typeface="Calibri"/>
              </a:rPr>
              <a:t>Analista SSR de Planejamento</a:t>
            </a:r>
            <a:br>
              <a:rPr lang="pt-BR" sz="1600" dirty="0">
                <a:latin typeface="Calibri"/>
                <a:ea typeface="Calibri"/>
                <a:cs typeface="Calibri"/>
                <a:sym typeface="Calibri"/>
              </a:rPr>
            </a:br>
            <a:br>
              <a:rPr lang="pt-BR" sz="1600" dirty="0">
                <a:latin typeface="Calibri"/>
                <a:ea typeface="Calibri"/>
                <a:cs typeface="Calibri"/>
                <a:sym typeface="Calibri"/>
              </a:rPr>
            </a:br>
            <a:r>
              <a:rPr lang="pt-BR" sz="1600" dirty="0">
                <a:latin typeface="Calibri"/>
                <a:ea typeface="Calibri"/>
                <a:cs typeface="Calibri"/>
                <a:sym typeface="Calibri"/>
              </a:rPr>
              <a:t> Marcela Spatti</a:t>
            </a:r>
            <a:br>
              <a:rPr lang="pt-BR" sz="1600" dirty="0">
                <a:latin typeface="Calibri"/>
                <a:ea typeface="Calibri"/>
                <a:cs typeface="Calibri"/>
                <a:sym typeface="Calibri"/>
              </a:rPr>
            </a:br>
            <a:endParaRPr sz="1600" dirty="0"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r>
              <a:rPr lang="pt-BR" sz="1600" dirty="0">
                <a:latin typeface="Calibri"/>
                <a:ea typeface="Calibri"/>
                <a:cs typeface="Calibri"/>
                <a:sym typeface="Calibri"/>
              </a:rPr>
              <a:t>19 983306249</a:t>
            </a:r>
            <a:endParaRPr sz="1600" dirty="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0" name="Google Shape;230;g1e2fb608f8b_0_42"/>
          <p:cNvSpPr/>
          <p:nvPr/>
        </p:nvSpPr>
        <p:spPr>
          <a:xfrm>
            <a:off x="141387" y="1028284"/>
            <a:ext cx="2987700" cy="29778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31" name="Google Shape;231;g1e2fb608f8b_0_42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41581" y="1036317"/>
            <a:ext cx="2987700" cy="2983200"/>
          </a:xfrm>
          <a:prstGeom prst="ellipse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"/>
            <a:headEnd type="none" w="sm" len="sm"/>
            <a:tailEnd type="none" w="sm" len="sm"/>
          </a:ln>
        </p:spPr>
      </p:pic>
      <p:pic>
        <p:nvPicPr>
          <p:cNvPr id="232" name="Google Shape;232;g1e2fb608f8b_0_42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685525" y="5872639"/>
            <a:ext cx="291300" cy="2913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33" name="Google Shape;233;g1e2fb608f8b_0_42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714650" y="5393932"/>
            <a:ext cx="291300" cy="2913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34" name="Google Shape;234;g1e2fb608f8b_0_42"/>
          <p:cNvPicPr preferRelativeResize="0"/>
          <p:nvPr/>
        </p:nvPicPr>
        <p:blipFill rotWithShape="1">
          <a:blip r:embed="rId7">
            <a:alphaModFix/>
          </a:blip>
          <a:srcRect t="16201" b="26812"/>
          <a:stretch/>
        </p:blipFill>
        <p:spPr>
          <a:xfrm>
            <a:off x="5234000" y="424950"/>
            <a:ext cx="1957200" cy="1983000"/>
          </a:xfrm>
          <a:prstGeom prst="ellipse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235" name="Google Shape;235;g1e2fb608f8b_0_42"/>
          <p:cNvSpPr txBox="1"/>
          <p:nvPr/>
        </p:nvSpPr>
        <p:spPr>
          <a:xfrm>
            <a:off x="3640624" y="1175585"/>
            <a:ext cx="1957200" cy="4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Calibri"/>
              <a:buNone/>
            </a:pPr>
            <a:r>
              <a:rPr lang="pt-BR" sz="1100" b="1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I</a:t>
            </a:r>
            <a:r>
              <a:rPr lang="pt-BR" sz="1100" b="1">
                <a:latin typeface="Calibri"/>
                <a:ea typeface="Calibri"/>
                <a:cs typeface="Calibri"/>
                <a:sym typeface="Calibri"/>
              </a:rPr>
              <a:t>ngresso Ambev</a:t>
            </a:r>
            <a:br>
              <a:rPr lang="pt-BR" sz="11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000" i="1">
                <a:latin typeface="Calibri"/>
                <a:ea typeface="Calibri"/>
                <a:cs typeface="Calibri"/>
                <a:sym typeface="Calibri"/>
              </a:rPr>
              <a:t>2019</a:t>
            </a:r>
            <a:endParaRPr sz="11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36" name="Google Shape;236;g1e2fb608f8b_0_42"/>
          <p:cNvPicPr preferRelativeResize="0"/>
          <p:nvPr/>
        </p:nvPicPr>
        <p:blipFill rotWithShape="1">
          <a:blip r:embed="rId8">
            <a:alphaModFix/>
          </a:blip>
          <a:srcRect t="14966" b="13732"/>
          <a:stretch/>
        </p:blipFill>
        <p:spPr>
          <a:xfrm>
            <a:off x="5221557" y="2624940"/>
            <a:ext cx="1957200" cy="1860900"/>
          </a:xfrm>
          <a:prstGeom prst="ellipse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"/>
            <a:headEnd type="none" w="sm" len="sm"/>
            <a:tailEnd type="none" w="sm" len="sm"/>
          </a:ln>
        </p:spPr>
      </p:pic>
      <p:pic>
        <p:nvPicPr>
          <p:cNvPr id="237" name="Google Shape;237;g1e2fb608f8b_0_42"/>
          <p:cNvPicPr preferRelativeResize="0"/>
          <p:nvPr/>
        </p:nvPicPr>
        <p:blipFill rotWithShape="1">
          <a:blip r:embed="rId9">
            <a:alphaModFix/>
          </a:blip>
          <a:srcRect t="21211" b="16784"/>
          <a:stretch/>
        </p:blipFill>
        <p:spPr>
          <a:xfrm>
            <a:off x="8454125" y="1473739"/>
            <a:ext cx="1957200" cy="2026800"/>
          </a:xfrm>
          <a:prstGeom prst="ellipse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238" name="Google Shape;238;g1e2fb608f8b_0_42"/>
          <p:cNvPicPr preferRelativeResize="0"/>
          <p:nvPr/>
        </p:nvPicPr>
        <p:blipFill rotWithShape="1">
          <a:blip r:embed="rId10">
            <a:alphaModFix/>
          </a:blip>
          <a:srcRect t="14312" b="5598"/>
          <a:stretch/>
        </p:blipFill>
        <p:spPr>
          <a:xfrm>
            <a:off x="8473525" y="3664665"/>
            <a:ext cx="1957200" cy="2089800"/>
          </a:xfrm>
          <a:prstGeom prst="ellipse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239" name="Google Shape;239;g1e2fb608f8b_0_42"/>
          <p:cNvPicPr preferRelativeResize="0"/>
          <p:nvPr/>
        </p:nvPicPr>
        <p:blipFill rotWithShape="1">
          <a:blip r:embed="rId11">
            <a:alphaModFix/>
          </a:blip>
          <a:srcRect t="23617"/>
          <a:stretch/>
        </p:blipFill>
        <p:spPr>
          <a:xfrm>
            <a:off x="5262750" y="4712250"/>
            <a:ext cx="1957200" cy="1993200"/>
          </a:xfrm>
          <a:prstGeom prst="ellipse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" name="Google Shape;244;g1e2fb608f8b_1_0"/>
          <p:cNvSpPr/>
          <p:nvPr/>
        </p:nvSpPr>
        <p:spPr>
          <a:xfrm>
            <a:off x="-4081" y="933450"/>
            <a:ext cx="3399000" cy="49911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5" name="Google Shape;245;g1e2fb608f8b_1_0"/>
          <p:cNvSpPr/>
          <p:nvPr/>
        </p:nvSpPr>
        <p:spPr>
          <a:xfrm>
            <a:off x="8668476" y="6337162"/>
            <a:ext cx="1311900" cy="3579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</a:pPr>
            <a:endParaRPr sz="32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46" name="Google Shape;246;g1e2fb608f8b_1_0" descr="Shape&#10;&#10;Description automatically generated with low confidence"/>
          <p:cNvPicPr preferRelativeResize="0"/>
          <p:nvPr/>
        </p:nvPicPr>
        <p:blipFill rotWithShape="1">
          <a:blip r:embed="rId3">
            <a:alphaModFix/>
          </a:blip>
          <a:srcRect b="8265"/>
          <a:stretch/>
        </p:blipFill>
        <p:spPr>
          <a:xfrm>
            <a:off x="11443306" y="6220980"/>
            <a:ext cx="457468" cy="419670"/>
          </a:xfrm>
          <a:prstGeom prst="rect">
            <a:avLst/>
          </a:prstGeom>
          <a:noFill/>
          <a:ln>
            <a:noFill/>
          </a:ln>
        </p:spPr>
      </p:pic>
      <p:sp>
        <p:nvSpPr>
          <p:cNvPr id="247" name="Google Shape;247;g1e2fb608f8b_1_0"/>
          <p:cNvSpPr txBox="1"/>
          <p:nvPr/>
        </p:nvSpPr>
        <p:spPr>
          <a:xfrm>
            <a:off x="-177129" y="4435523"/>
            <a:ext cx="3745200" cy="1077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r>
              <a:rPr lang="pt-BR" sz="1600">
                <a:latin typeface="Calibri"/>
                <a:ea typeface="Calibri"/>
                <a:cs typeface="Calibri"/>
                <a:sym typeface="Calibri"/>
              </a:rPr>
              <a:t>Edmur | Jamal</a:t>
            </a:r>
            <a:endParaRPr/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r>
              <a:rPr lang="pt-BR" sz="1600">
                <a:latin typeface="Calibri"/>
                <a:ea typeface="Calibri"/>
                <a:cs typeface="Calibri"/>
                <a:sym typeface="Calibri"/>
              </a:rPr>
              <a:t>26 anos</a:t>
            </a:r>
            <a:endParaRPr/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r>
              <a:rPr lang="pt-BR" sz="1600">
                <a:latin typeface="Calibri"/>
                <a:ea typeface="Calibri"/>
                <a:cs typeface="Calibri"/>
                <a:sym typeface="Calibri"/>
              </a:rPr>
              <a:t>Turma XVI</a:t>
            </a:r>
            <a:r>
              <a:rPr lang="pt-BR" sz="16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br>
              <a:rPr lang="pt-BR" sz="16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600">
                <a:latin typeface="Calibri"/>
                <a:ea typeface="Calibri"/>
                <a:cs typeface="Calibri"/>
                <a:sym typeface="Calibri"/>
              </a:rPr>
              <a:t>Analista de Investimentos II</a:t>
            </a:r>
            <a:endParaRPr/>
          </a:p>
        </p:txBody>
      </p:sp>
      <p:sp>
        <p:nvSpPr>
          <p:cNvPr id="248" name="Google Shape;248;g1e2fb608f8b_1_0"/>
          <p:cNvSpPr/>
          <p:nvPr/>
        </p:nvSpPr>
        <p:spPr>
          <a:xfrm>
            <a:off x="141387" y="1256884"/>
            <a:ext cx="2987700" cy="29778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9" name="Google Shape;249;g1e2fb608f8b_1_0"/>
          <p:cNvSpPr/>
          <p:nvPr/>
        </p:nvSpPr>
        <p:spPr>
          <a:xfrm rot="5400000">
            <a:off x="7190574" y="894342"/>
            <a:ext cx="1095600" cy="556800"/>
          </a:xfrm>
          <a:prstGeom prst="rect">
            <a:avLst/>
          </a:prstGeom>
          <a:solidFill>
            <a:srgbClr val="70AD47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0" name="Google Shape;250;g1e2fb608f8b_1_0"/>
          <p:cNvSpPr/>
          <p:nvPr/>
        </p:nvSpPr>
        <p:spPr>
          <a:xfrm rot="5400000">
            <a:off x="7190571" y="1989850"/>
            <a:ext cx="1095600" cy="5568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1" name="Google Shape;251;g1e2fb608f8b_1_0"/>
          <p:cNvSpPr/>
          <p:nvPr/>
        </p:nvSpPr>
        <p:spPr>
          <a:xfrm rot="5400000">
            <a:off x="7190568" y="3085359"/>
            <a:ext cx="1095600" cy="556800"/>
          </a:xfrm>
          <a:prstGeom prst="rect">
            <a:avLst/>
          </a:prstGeom>
          <a:solidFill>
            <a:srgbClr val="E78B0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2" name="Google Shape;252;g1e2fb608f8b_1_0"/>
          <p:cNvSpPr/>
          <p:nvPr/>
        </p:nvSpPr>
        <p:spPr>
          <a:xfrm rot="5400000">
            <a:off x="7190564" y="4180866"/>
            <a:ext cx="1095600" cy="556800"/>
          </a:xfrm>
          <a:prstGeom prst="rect">
            <a:avLst/>
          </a:prstGeom>
          <a:solidFill>
            <a:srgbClr val="A2AD8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3" name="Google Shape;253;g1e2fb608f8b_1_0"/>
          <p:cNvSpPr/>
          <p:nvPr/>
        </p:nvSpPr>
        <p:spPr>
          <a:xfrm rot="5400000">
            <a:off x="7190564" y="5276374"/>
            <a:ext cx="1095600" cy="556800"/>
          </a:xfrm>
          <a:prstGeom prst="rect">
            <a:avLst/>
          </a:prstGeom>
          <a:solidFill>
            <a:srgbClr val="756E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4" name="Google Shape;254;g1e2fb608f8b_1_0"/>
          <p:cNvSpPr/>
          <p:nvPr/>
        </p:nvSpPr>
        <p:spPr>
          <a:xfrm>
            <a:off x="5366086" y="390419"/>
            <a:ext cx="1564500" cy="15645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5" name="Google Shape;255;g1e2fb608f8b_1_0"/>
          <p:cNvSpPr/>
          <p:nvPr/>
        </p:nvSpPr>
        <p:spPr>
          <a:xfrm>
            <a:off x="8544050" y="1475194"/>
            <a:ext cx="1564500" cy="15645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6" name="Google Shape;256;g1e2fb608f8b_1_0"/>
          <p:cNvSpPr/>
          <p:nvPr/>
        </p:nvSpPr>
        <p:spPr>
          <a:xfrm>
            <a:off x="5376670" y="2581435"/>
            <a:ext cx="1564500" cy="15645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7" name="Google Shape;257;g1e2fb608f8b_1_0"/>
          <p:cNvSpPr/>
          <p:nvPr/>
        </p:nvSpPr>
        <p:spPr>
          <a:xfrm>
            <a:off x="8548269" y="3694648"/>
            <a:ext cx="1564500" cy="15645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8" name="Google Shape;258;g1e2fb608f8b_1_0"/>
          <p:cNvSpPr/>
          <p:nvPr/>
        </p:nvSpPr>
        <p:spPr>
          <a:xfrm>
            <a:off x="5393426" y="4772451"/>
            <a:ext cx="1564500" cy="15645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9" name="Google Shape;259;g1e2fb608f8b_1_0"/>
          <p:cNvSpPr/>
          <p:nvPr/>
        </p:nvSpPr>
        <p:spPr>
          <a:xfrm>
            <a:off x="8016763" y="2281486"/>
            <a:ext cx="540600" cy="753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0" name="Google Shape;260;g1e2fb608f8b_1_0"/>
          <p:cNvSpPr/>
          <p:nvPr/>
        </p:nvSpPr>
        <p:spPr>
          <a:xfrm>
            <a:off x="6922736" y="1172696"/>
            <a:ext cx="540600" cy="75300"/>
          </a:xfrm>
          <a:prstGeom prst="rect">
            <a:avLst/>
          </a:prstGeom>
          <a:solidFill>
            <a:srgbClr val="70AD47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1" name="Google Shape;261;g1e2fb608f8b_1_0"/>
          <p:cNvSpPr/>
          <p:nvPr/>
        </p:nvSpPr>
        <p:spPr>
          <a:xfrm>
            <a:off x="8016763" y="4477947"/>
            <a:ext cx="540600" cy="75300"/>
          </a:xfrm>
          <a:prstGeom prst="rect">
            <a:avLst/>
          </a:prstGeom>
          <a:solidFill>
            <a:srgbClr val="FFD96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2" name="Google Shape;262;g1e2fb608f8b_1_0"/>
          <p:cNvSpPr/>
          <p:nvPr/>
        </p:nvSpPr>
        <p:spPr>
          <a:xfrm>
            <a:off x="6934489" y="3326805"/>
            <a:ext cx="540600" cy="75300"/>
          </a:xfrm>
          <a:prstGeom prst="rect">
            <a:avLst/>
          </a:prstGeom>
          <a:solidFill>
            <a:srgbClr val="E78B0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3" name="Google Shape;263;g1e2fb608f8b_1_0"/>
          <p:cNvSpPr/>
          <p:nvPr/>
        </p:nvSpPr>
        <p:spPr>
          <a:xfrm>
            <a:off x="6957980" y="5553409"/>
            <a:ext cx="540600" cy="75300"/>
          </a:xfrm>
          <a:prstGeom prst="rect">
            <a:avLst/>
          </a:prstGeom>
          <a:solidFill>
            <a:srgbClr val="323F4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4" name="Google Shape;264;g1e2fb608f8b_1_0"/>
          <p:cNvSpPr/>
          <p:nvPr/>
        </p:nvSpPr>
        <p:spPr>
          <a:xfrm>
            <a:off x="7657434" y="1178710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5" name="Google Shape;265;g1e2fb608f8b_1_0"/>
          <p:cNvSpPr/>
          <p:nvPr/>
        </p:nvSpPr>
        <p:spPr>
          <a:xfrm>
            <a:off x="7657434" y="2229229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6" name="Google Shape;266;g1e2fb608f8b_1_0"/>
          <p:cNvSpPr/>
          <p:nvPr/>
        </p:nvSpPr>
        <p:spPr>
          <a:xfrm>
            <a:off x="7649433" y="3243774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7" name="Google Shape;267;g1e2fb608f8b_1_0"/>
          <p:cNvSpPr/>
          <p:nvPr/>
        </p:nvSpPr>
        <p:spPr>
          <a:xfrm>
            <a:off x="7649432" y="4456565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8" name="Google Shape;268;g1e2fb608f8b_1_0"/>
          <p:cNvSpPr/>
          <p:nvPr/>
        </p:nvSpPr>
        <p:spPr>
          <a:xfrm>
            <a:off x="7649432" y="5512741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9" name="Google Shape;269;g1e2fb608f8b_1_0"/>
          <p:cNvSpPr txBox="1"/>
          <p:nvPr/>
        </p:nvSpPr>
        <p:spPr>
          <a:xfrm>
            <a:off x="3722398" y="917342"/>
            <a:ext cx="1957200" cy="4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Calibri"/>
              <a:buNone/>
            </a:pPr>
            <a:r>
              <a:rPr lang="pt-BR" sz="1100" b="1">
                <a:latin typeface="Calibri"/>
                <a:ea typeface="Calibri"/>
                <a:cs typeface="Calibri"/>
                <a:sym typeface="Calibri"/>
              </a:rPr>
              <a:t>Mukifu</a:t>
            </a:r>
            <a:br>
              <a:rPr lang="pt-BR" sz="11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000" i="1">
                <a:latin typeface="Calibri"/>
                <a:ea typeface="Calibri"/>
                <a:cs typeface="Calibri"/>
                <a:sym typeface="Calibri"/>
              </a:rPr>
              <a:t>2016</a:t>
            </a:r>
            <a:endParaRPr sz="11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0" name="Google Shape;270;g1e2fb608f8b_1_0"/>
          <p:cNvSpPr txBox="1"/>
          <p:nvPr/>
        </p:nvSpPr>
        <p:spPr>
          <a:xfrm>
            <a:off x="9812824" y="2013785"/>
            <a:ext cx="1957200" cy="4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Calibri"/>
              <a:buNone/>
            </a:pPr>
            <a:r>
              <a:rPr lang="pt-BR" sz="1100" b="1">
                <a:latin typeface="Calibri"/>
                <a:ea typeface="Calibri"/>
                <a:cs typeface="Calibri"/>
                <a:sym typeface="Calibri"/>
              </a:rPr>
              <a:t>Estágio</a:t>
            </a:r>
            <a:br>
              <a:rPr lang="pt-BR" sz="11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000" i="1">
                <a:latin typeface="Calibri"/>
                <a:ea typeface="Calibri"/>
                <a:cs typeface="Calibri"/>
                <a:sym typeface="Calibri"/>
              </a:rPr>
              <a:t>Pasteurização</a:t>
            </a:r>
            <a:r>
              <a:rPr lang="pt-BR" sz="1000" b="0" i="1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| </a:t>
            </a:r>
            <a:r>
              <a:rPr lang="pt-BR" sz="1000" i="1">
                <a:latin typeface="Calibri"/>
                <a:ea typeface="Calibri"/>
                <a:cs typeface="Calibri"/>
                <a:sym typeface="Calibri"/>
              </a:rPr>
              <a:t>2017</a:t>
            </a:r>
            <a:endParaRPr sz="11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1" name="Google Shape;271;g1e2fb608f8b_1_0"/>
          <p:cNvSpPr txBox="1"/>
          <p:nvPr/>
        </p:nvSpPr>
        <p:spPr>
          <a:xfrm>
            <a:off x="3790747" y="3148268"/>
            <a:ext cx="1957200" cy="4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Calibri"/>
              <a:buNone/>
            </a:pPr>
            <a:r>
              <a:rPr lang="pt-BR" sz="1100" b="1">
                <a:latin typeface="Calibri"/>
                <a:ea typeface="Calibri"/>
                <a:cs typeface="Calibri"/>
                <a:sym typeface="Calibri"/>
              </a:rPr>
              <a:t>PCF</a:t>
            </a:r>
            <a:br>
              <a:rPr lang="pt-BR" sz="11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000" i="1">
                <a:latin typeface="Calibri"/>
                <a:ea typeface="Calibri"/>
                <a:cs typeface="Calibri"/>
                <a:sym typeface="Calibri"/>
              </a:rPr>
              <a:t>Recreador </a:t>
            </a:r>
            <a:r>
              <a:rPr lang="pt-BR" sz="1000" b="0" i="1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| </a:t>
            </a:r>
            <a:r>
              <a:rPr lang="pt-BR" sz="1000" i="1">
                <a:latin typeface="Calibri"/>
                <a:ea typeface="Calibri"/>
                <a:cs typeface="Calibri"/>
                <a:sym typeface="Calibri"/>
              </a:rPr>
              <a:t>2018</a:t>
            </a:r>
            <a:endParaRPr sz="11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2" name="Google Shape;272;g1e2fb608f8b_1_0"/>
          <p:cNvSpPr txBox="1"/>
          <p:nvPr/>
        </p:nvSpPr>
        <p:spPr>
          <a:xfrm>
            <a:off x="9816682" y="4261481"/>
            <a:ext cx="1957200" cy="4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Calibri"/>
              <a:buNone/>
            </a:pPr>
            <a:r>
              <a:rPr lang="pt-BR" sz="1100" b="1">
                <a:latin typeface="Calibri"/>
                <a:ea typeface="Calibri"/>
                <a:cs typeface="Calibri"/>
                <a:sym typeface="Calibri"/>
              </a:rPr>
              <a:t>Qualimentos jr</a:t>
            </a:r>
            <a:br>
              <a:rPr lang="pt-BR" sz="11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000" i="1">
                <a:latin typeface="Calibri"/>
                <a:ea typeface="Calibri"/>
                <a:cs typeface="Calibri"/>
                <a:sym typeface="Calibri"/>
              </a:rPr>
              <a:t>Projetos</a:t>
            </a:r>
            <a:r>
              <a:rPr lang="pt-BR" sz="1000" b="0" i="1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 | </a:t>
            </a:r>
            <a:r>
              <a:rPr lang="pt-BR" sz="1000" i="1">
                <a:latin typeface="Calibri"/>
                <a:ea typeface="Calibri"/>
                <a:cs typeface="Calibri"/>
                <a:sym typeface="Calibri"/>
              </a:rPr>
              <a:t>2019</a:t>
            </a:r>
            <a:endParaRPr sz="11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3" name="Google Shape;273;g1e2fb608f8b_1_0"/>
          <p:cNvSpPr txBox="1"/>
          <p:nvPr/>
        </p:nvSpPr>
        <p:spPr>
          <a:xfrm>
            <a:off x="3427966" y="5466792"/>
            <a:ext cx="1957200" cy="4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Calibri"/>
              <a:buNone/>
            </a:pPr>
            <a:r>
              <a:rPr lang="pt-BR" sz="1100" b="1">
                <a:latin typeface="Calibri"/>
                <a:ea typeface="Calibri"/>
                <a:cs typeface="Calibri"/>
                <a:sym typeface="Calibri"/>
              </a:rPr>
              <a:t>Intercâmbio - Egito</a:t>
            </a:r>
            <a:br>
              <a:rPr lang="pt-BR" sz="11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000" i="1">
                <a:latin typeface="Calibri"/>
                <a:ea typeface="Calibri"/>
                <a:cs typeface="Calibri"/>
                <a:sym typeface="Calibri"/>
              </a:rPr>
              <a:t>AIESEC </a:t>
            </a:r>
            <a:r>
              <a:rPr lang="pt-BR" sz="1000" b="0" i="1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| </a:t>
            </a:r>
            <a:r>
              <a:rPr lang="pt-BR" sz="1000" i="1">
                <a:latin typeface="Calibri"/>
                <a:ea typeface="Calibri"/>
                <a:cs typeface="Calibri"/>
                <a:sym typeface="Calibri"/>
              </a:rPr>
              <a:t>2020</a:t>
            </a:r>
            <a:endParaRPr sz="11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4" name="Google Shape;274;g1e2fb608f8b_1_0"/>
          <p:cNvSpPr/>
          <p:nvPr/>
        </p:nvSpPr>
        <p:spPr>
          <a:xfrm>
            <a:off x="11900774" y="933450"/>
            <a:ext cx="291300" cy="49911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75" name="Google Shape;275;g1e2fb608f8b_1_0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5368200" y="2581438"/>
            <a:ext cx="1564500" cy="1564500"/>
          </a:xfrm>
          <a:prstGeom prst="flowChartConnector">
            <a:avLst/>
          </a:prstGeom>
          <a:noFill/>
          <a:ln>
            <a:noFill/>
          </a:ln>
        </p:spPr>
      </p:pic>
      <p:pic>
        <p:nvPicPr>
          <p:cNvPr id="276" name="Google Shape;276;g1e2fb608f8b_1_0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5337925" y="390400"/>
            <a:ext cx="1594800" cy="1564500"/>
          </a:xfrm>
          <a:prstGeom prst="ellipse">
            <a:avLst/>
          </a:prstGeom>
          <a:noFill/>
          <a:ln>
            <a:noFill/>
          </a:ln>
        </p:spPr>
      </p:pic>
      <p:pic>
        <p:nvPicPr>
          <p:cNvPr id="277" name="Google Shape;277;g1e2fb608f8b_1_0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8544025" y="1445950"/>
            <a:ext cx="1564500" cy="1623000"/>
          </a:xfrm>
          <a:prstGeom prst="ellipse">
            <a:avLst/>
          </a:prstGeom>
          <a:noFill/>
          <a:ln>
            <a:noFill/>
          </a:ln>
        </p:spPr>
      </p:pic>
      <p:pic>
        <p:nvPicPr>
          <p:cNvPr id="278" name="Google Shape;278;g1e2fb608f8b_1_0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5334525" y="4743200"/>
            <a:ext cx="1719900" cy="1623000"/>
          </a:xfrm>
          <a:prstGeom prst="ellipse">
            <a:avLst/>
          </a:prstGeom>
          <a:noFill/>
          <a:ln>
            <a:noFill/>
          </a:ln>
        </p:spPr>
      </p:pic>
      <p:pic>
        <p:nvPicPr>
          <p:cNvPr id="279" name="Google Shape;279;g1e2fb608f8b_1_0"/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65175" y="1079375"/>
            <a:ext cx="3156600" cy="3258300"/>
          </a:xfrm>
          <a:prstGeom prst="ellipse">
            <a:avLst/>
          </a:prstGeom>
          <a:noFill/>
          <a:ln>
            <a:noFill/>
          </a:ln>
        </p:spPr>
      </p:pic>
      <p:pic>
        <p:nvPicPr>
          <p:cNvPr id="280" name="Google Shape;280;g1e2fb608f8b_1_0"/>
          <p:cNvPicPr preferRelativeResize="0"/>
          <p:nvPr/>
        </p:nvPicPr>
        <p:blipFill>
          <a:blip r:embed="rId9">
            <a:alphaModFix/>
          </a:blip>
          <a:stretch>
            <a:fillRect/>
          </a:stretch>
        </p:blipFill>
        <p:spPr>
          <a:xfrm>
            <a:off x="8477075" y="3661575"/>
            <a:ext cx="1694700" cy="1595400"/>
          </a:xfrm>
          <a:prstGeom prst="ellipse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5" name="Google Shape;285;g1e2fce8231d_0_0"/>
          <p:cNvSpPr/>
          <p:nvPr/>
        </p:nvSpPr>
        <p:spPr>
          <a:xfrm>
            <a:off x="8668476" y="6337162"/>
            <a:ext cx="1311900" cy="3579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</a:pPr>
            <a:endParaRPr sz="32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86" name="Google Shape;286;g1e2fce8231d_0_0" descr="Shape&#10;&#10;Description automatically generated with low confidence"/>
          <p:cNvPicPr preferRelativeResize="0"/>
          <p:nvPr/>
        </p:nvPicPr>
        <p:blipFill rotWithShape="1">
          <a:blip r:embed="rId3">
            <a:alphaModFix/>
          </a:blip>
          <a:srcRect b="8265"/>
          <a:stretch/>
        </p:blipFill>
        <p:spPr>
          <a:xfrm>
            <a:off x="11443306" y="6220980"/>
            <a:ext cx="457468" cy="419670"/>
          </a:xfrm>
          <a:prstGeom prst="rect">
            <a:avLst/>
          </a:prstGeom>
          <a:noFill/>
          <a:ln>
            <a:noFill/>
          </a:ln>
        </p:spPr>
      </p:pic>
      <p:sp>
        <p:nvSpPr>
          <p:cNvPr id="287" name="Google Shape;287;g1e2fce8231d_0_0"/>
          <p:cNvSpPr/>
          <p:nvPr/>
        </p:nvSpPr>
        <p:spPr>
          <a:xfrm rot="5400000">
            <a:off x="6775675" y="631650"/>
            <a:ext cx="1925400" cy="556800"/>
          </a:xfrm>
          <a:prstGeom prst="rect">
            <a:avLst/>
          </a:prstGeom>
          <a:solidFill>
            <a:srgbClr val="756E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8" name="Google Shape;288;g1e2fce8231d_0_0"/>
          <p:cNvSpPr/>
          <p:nvPr/>
        </p:nvSpPr>
        <p:spPr>
          <a:xfrm rot="5400000">
            <a:off x="7190571" y="2142250"/>
            <a:ext cx="1095600" cy="5568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9" name="Google Shape;289;g1e2fce8231d_0_0"/>
          <p:cNvSpPr/>
          <p:nvPr/>
        </p:nvSpPr>
        <p:spPr>
          <a:xfrm rot="5400000">
            <a:off x="7190568" y="3237759"/>
            <a:ext cx="1095600" cy="556800"/>
          </a:xfrm>
          <a:prstGeom prst="rect">
            <a:avLst/>
          </a:prstGeom>
          <a:solidFill>
            <a:srgbClr val="E78B0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0" name="Google Shape;290;g1e2fce8231d_0_0"/>
          <p:cNvSpPr/>
          <p:nvPr/>
        </p:nvSpPr>
        <p:spPr>
          <a:xfrm>
            <a:off x="8544050" y="1627594"/>
            <a:ext cx="1564500" cy="15645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1" name="Google Shape;291;g1e2fce8231d_0_0"/>
          <p:cNvSpPr/>
          <p:nvPr/>
        </p:nvSpPr>
        <p:spPr>
          <a:xfrm>
            <a:off x="5376670" y="2733835"/>
            <a:ext cx="1564500" cy="15645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2" name="Google Shape;292;g1e2fce8231d_0_0"/>
          <p:cNvSpPr/>
          <p:nvPr/>
        </p:nvSpPr>
        <p:spPr>
          <a:xfrm>
            <a:off x="8016763" y="2433886"/>
            <a:ext cx="540600" cy="753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3" name="Google Shape;293;g1e2fce8231d_0_0"/>
          <p:cNvSpPr/>
          <p:nvPr/>
        </p:nvSpPr>
        <p:spPr>
          <a:xfrm>
            <a:off x="6934489" y="3479205"/>
            <a:ext cx="540600" cy="75300"/>
          </a:xfrm>
          <a:prstGeom prst="rect">
            <a:avLst/>
          </a:prstGeom>
          <a:solidFill>
            <a:srgbClr val="E78B0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4" name="Google Shape;294;g1e2fce8231d_0_0"/>
          <p:cNvSpPr/>
          <p:nvPr/>
        </p:nvSpPr>
        <p:spPr>
          <a:xfrm>
            <a:off x="7657434" y="1331110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5" name="Google Shape;295;g1e2fce8231d_0_0"/>
          <p:cNvSpPr/>
          <p:nvPr/>
        </p:nvSpPr>
        <p:spPr>
          <a:xfrm>
            <a:off x="7657434" y="2381629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6" name="Google Shape;296;g1e2fce8231d_0_0"/>
          <p:cNvSpPr/>
          <p:nvPr/>
        </p:nvSpPr>
        <p:spPr>
          <a:xfrm>
            <a:off x="7649433" y="3396174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7" name="Google Shape;297;g1e2fce8231d_0_0"/>
          <p:cNvSpPr/>
          <p:nvPr/>
        </p:nvSpPr>
        <p:spPr>
          <a:xfrm>
            <a:off x="7649432" y="4608965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8" name="Google Shape;298;g1e2fce8231d_0_0"/>
          <p:cNvSpPr txBox="1"/>
          <p:nvPr/>
        </p:nvSpPr>
        <p:spPr>
          <a:xfrm>
            <a:off x="10117624" y="2166185"/>
            <a:ext cx="1957200" cy="4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Calibri"/>
              <a:buNone/>
            </a:pPr>
            <a:r>
              <a:rPr lang="pt-BR" sz="1100" b="1">
                <a:latin typeface="Calibri"/>
                <a:ea typeface="Calibri"/>
                <a:cs typeface="Calibri"/>
                <a:sym typeface="Calibri"/>
              </a:rPr>
              <a:t>F</a:t>
            </a:r>
            <a:r>
              <a:rPr lang="pt-BR" sz="11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mação Eng. Alimentos</a:t>
            </a:r>
            <a:br>
              <a:rPr lang="pt-BR" sz="11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000" i="1">
                <a:latin typeface="Calibri"/>
                <a:ea typeface="Calibri"/>
                <a:cs typeface="Calibri"/>
                <a:sym typeface="Calibri"/>
              </a:rPr>
              <a:t>2021</a:t>
            </a:r>
            <a:endParaRPr sz="11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9" name="Google Shape;299;g1e2fce8231d_0_0"/>
          <p:cNvSpPr txBox="1"/>
          <p:nvPr/>
        </p:nvSpPr>
        <p:spPr>
          <a:xfrm>
            <a:off x="3269500" y="3390900"/>
            <a:ext cx="2097300" cy="76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Calibri"/>
              <a:buNone/>
            </a:pPr>
            <a:r>
              <a:rPr lang="pt-BR" sz="11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fetivação - Santander Asset Management</a:t>
            </a:r>
            <a:br>
              <a:rPr lang="pt-BR" sz="11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1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Gestão </a:t>
            </a:r>
            <a:r>
              <a:rPr lang="pt-BR" sz="1100">
                <a:latin typeface="Calibri"/>
                <a:ea typeface="Calibri"/>
                <a:cs typeface="Calibri"/>
                <a:sym typeface="Calibri"/>
              </a:rPr>
              <a:t>- Fundos de Crédito Privado |</a:t>
            </a:r>
            <a:r>
              <a:rPr lang="pt-BR" sz="1000" i="1">
                <a:latin typeface="Calibri"/>
                <a:ea typeface="Calibri"/>
                <a:cs typeface="Calibri"/>
                <a:sym typeface="Calibri"/>
              </a:rPr>
              <a:t>2022</a:t>
            </a:r>
            <a:endParaRPr sz="11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0" name="Google Shape;300;g1e2fce8231d_0_0"/>
          <p:cNvSpPr/>
          <p:nvPr/>
        </p:nvSpPr>
        <p:spPr>
          <a:xfrm>
            <a:off x="11900774" y="933450"/>
            <a:ext cx="291300" cy="49911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1" name="Google Shape;301;g1e2fce8231d_0_0"/>
          <p:cNvSpPr/>
          <p:nvPr/>
        </p:nvSpPr>
        <p:spPr>
          <a:xfrm>
            <a:off x="-4081" y="933450"/>
            <a:ext cx="3399000" cy="49911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2" name="Google Shape;302;g1e2fce8231d_0_0"/>
          <p:cNvSpPr txBox="1"/>
          <p:nvPr/>
        </p:nvSpPr>
        <p:spPr>
          <a:xfrm>
            <a:off x="-177129" y="4435523"/>
            <a:ext cx="3745200" cy="1077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r>
              <a:rPr lang="pt-BR" sz="1600">
                <a:latin typeface="Calibri"/>
                <a:ea typeface="Calibri"/>
                <a:cs typeface="Calibri"/>
                <a:sym typeface="Calibri"/>
              </a:rPr>
              <a:t>Marcela Spatti | Alada</a:t>
            </a:r>
            <a:endParaRPr/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r>
              <a:rPr lang="pt-BR" sz="1600">
                <a:latin typeface="Calibri"/>
                <a:ea typeface="Calibri"/>
                <a:cs typeface="Calibri"/>
                <a:sym typeface="Calibri"/>
              </a:rPr>
              <a:t>25 anos </a:t>
            </a:r>
            <a:endParaRPr/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r>
              <a:rPr lang="pt-BR" sz="16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urma XVI </a:t>
            </a:r>
            <a:r>
              <a:rPr lang="pt-BR" sz="16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br>
              <a:rPr lang="pt-BR" sz="16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600">
                <a:latin typeface="Calibri"/>
                <a:ea typeface="Calibri"/>
                <a:cs typeface="Calibri"/>
                <a:sym typeface="Calibri"/>
              </a:rPr>
              <a:t>Analista SSR de Planejamento</a:t>
            </a:r>
            <a:endParaRPr/>
          </a:p>
        </p:txBody>
      </p:sp>
      <p:sp>
        <p:nvSpPr>
          <p:cNvPr id="303" name="Google Shape;303;g1e2fce8231d_0_0"/>
          <p:cNvSpPr/>
          <p:nvPr/>
        </p:nvSpPr>
        <p:spPr>
          <a:xfrm>
            <a:off x="141387" y="1256884"/>
            <a:ext cx="2987700" cy="29778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04" name="Google Shape;304;g1e2fce8231d_0_0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41581" y="1264917"/>
            <a:ext cx="2987700" cy="2983200"/>
          </a:xfrm>
          <a:prstGeom prst="ellipse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"/>
            <a:headEnd type="none" w="sm" len="sm"/>
            <a:tailEnd type="none" w="sm" len="sm"/>
          </a:ln>
        </p:spPr>
      </p:pic>
      <p:sp>
        <p:nvSpPr>
          <p:cNvPr id="305" name="Google Shape;305;g1e2fce8231d_0_0"/>
          <p:cNvSpPr/>
          <p:nvPr/>
        </p:nvSpPr>
        <p:spPr>
          <a:xfrm>
            <a:off x="5393426" y="581451"/>
            <a:ext cx="1564500" cy="15645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6" name="Google Shape;306;g1e2fce8231d_0_0"/>
          <p:cNvSpPr/>
          <p:nvPr/>
        </p:nvSpPr>
        <p:spPr>
          <a:xfrm>
            <a:off x="6957980" y="1362409"/>
            <a:ext cx="540600" cy="75300"/>
          </a:xfrm>
          <a:prstGeom prst="rect">
            <a:avLst/>
          </a:prstGeom>
          <a:solidFill>
            <a:srgbClr val="756E3B"/>
          </a:solidFill>
          <a:ln w="9525" cap="flat" cmpd="sng">
            <a:solidFill>
              <a:srgbClr val="756E3B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7" name="Google Shape;307;g1e2fce8231d_0_0"/>
          <p:cNvSpPr/>
          <p:nvPr/>
        </p:nvSpPr>
        <p:spPr>
          <a:xfrm>
            <a:off x="-4075" y="933450"/>
            <a:ext cx="3399000" cy="5403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8" name="Google Shape;308;g1e2fce8231d_0_0"/>
          <p:cNvSpPr txBox="1"/>
          <p:nvPr/>
        </p:nvSpPr>
        <p:spPr>
          <a:xfrm>
            <a:off x="-177125" y="4130725"/>
            <a:ext cx="3745200" cy="2062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alibri"/>
              <a:buNone/>
            </a:pPr>
            <a:r>
              <a:rPr lang="pt-BR" sz="16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dmur | Jamal</a:t>
            </a:r>
            <a:endParaRPr>
              <a:solidFill>
                <a:schemeClr val="dk1"/>
              </a:solidFill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alibri"/>
              <a:buNone/>
            </a:pPr>
            <a:r>
              <a:rPr lang="pt-BR" sz="16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6 anos</a:t>
            </a:r>
            <a:endParaRPr>
              <a:solidFill>
                <a:schemeClr val="dk1"/>
              </a:solidFill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r>
              <a:rPr lang="pt-BR" sz="16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urma XVI </a:t>
            </a:r>
            <a:br>
              <a:rPr lang="pt-BR" sz="16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6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nalista de Investimentos II</a:t>
            </a:r>
            <a:endParaRPr sz="16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br>
              <a:rPr lang="pt-BR" sz="1600">
                <a:latin typeface="Calibri"/>
                <a:ea typeface="Calibri"/>
                <a:cs typeface="Calibri"/>
                <a:sym typeface="Calibri"/>
              </a:rPr>
            </a:br>
            <a:r>
              <a:rPr lang="pt-BR" sz="1600">
                <a:latin typeface="Calibri"/>
                <a:ea typeface="Calibri"/>
                <a:cs typeface="Calibri"/>
                <a:sym typeface="Calibri"/>
              </a:rPr>
              <a:t> Edmur Neto</a:t>
            </a:r>
            <a:endParaRPr sz="1600"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endParaRPr sz="1600"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r>
              <a:rPr lang="pt-BR" sz="1600">
                <a:latin typeface="Calibri"/>
                <a:ea typeface="Calibri"/>
                <a:cs typeface="Calibri"/>
                <a:sym typeface="Calibri"/>
              </a:rPr>
              <a:t>19 97481-4516</a:t>
            </a:r>
            <a:endParaRPr sz="160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9" name="Google Shape;309;g1e2fce8231d_0_0"/>
          <p:cNvSpPr/>
          <p:nvPr/>
        </p:nvSpPr>
        <p:spPr>
          <a:xfrm>
            <a:off x="141387" y="1028284"/>
            <a:ext cx="2987700" cy="29778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10" name="Google Shape;310;g1e2fce8231d_0_0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685525" y="5872639"/>
            <a:ext cx="291300" cy="2913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11" name="Google Shape;311;g1e2fce8231d_0_0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714650" y="5393932"/>
            <a:ext cx="291300" cy="291300"/>
          </a:xfrm>
          <a:prstGeom prst="rect">
            <a:avLst/>
          </a:prstGeom>
          <a:noFill/>
          <a:ln>
            <a:noFill/>
          </a:ln>
        </p:spPr>
      </p:pic>
      <p:sp>
        <p:nvSpPr>
          <p:cNvPr id="312" name="Google Shape;312;g1e2fce8231d_0_0"/>
          <p:cNvSpPr txBox="1"/>
          <p:nvPr/>
        </p:nvSpPr>
        <p:spPr>
          <a:xfrm>
            <a:off x="3412024" y="1175585"/>
            <a:ext cx="1957200" cy="4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Calibri"/>
              <a:buNone/>
            </a:pPr>
            <a:r>
              <a:rPr lang="pt-BR" sz="1100" b="1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I</a:t>
            </a:r>
            <a:r>
              <a:rPr lang="pt-BR" sz="1100" b="1">
                <a:latin typeface="Calibri"/>
                <a:ea typeface="Calibri"/>
                <a:cs typeface="Calibri"/>
                <a:sym typeface="Calibri"/>
              </a:rPr>
              <a:t>ngresso Santander (estag)</a:t>
            </a:r>
            <a:br>
              <a:rPr lang="pt-BR" sz="11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1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Riscos de investimentos | </a:t>
            </a:r>
            <a:r>
              <a:rPr lang="pt-BR" sz="1000" i="1">
                <a:latin typeface="Calibri"/>
                <a:ea typeface="Calibri"/>
                <a:cs typeface="Calibri"/>
                <a:sym typeface="Calibri"/>
              </a:rPr>
              <a:t>2021</a:t>
            </a:r>
            <a:endParaRPr sz="11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13" name="Google Shape;313;g1e2fce8231d_0_0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99675" y="1003175"/>
            <a:ext cx="3041700" cy="3096600"/>
          </a:xfrm>
          <a:prstGeom prst="ellipse">
            <a:avLst/>
          </a:prstGeom>
          <a:noFill/>
          <a:ln>
            <a:noFill/>
          </a:ln>
        </p:spPr>
      </p:pic>
      <p:pic>
        <p:nvPicPr>
          <p:cNvPr id="314" name="Google Shape;314;g1e2fce8231d_0_0"/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5303625" y="2710975"/>
            <a:ext cx="1694700" cy="1595400"/>
          </a:xfrm>
          <a:prstGeom prst="ellipse">
            <a:avLst/>
          </a:prstGeom>
          <a:noFill/>
          <a:ln>
            <a:noFill/>
          </a:ln>
        </p:spPr>
      </p:pic>
      <p:pic>
        <p:nvPicPr>
          <p:cNvPr id="315" name="Google Shape;315;g1e2fce8231d_0_0"/>
          <p:cNvPicPr preferRelativeResize="0"/>
          <p:nvPr/>
        </p:nvPicPr>
        <p:blipFill>
          <a:blip r:embed="rId9">
            <a:alphaModFix/>
          </a:blip>
          <a:stretch>
            <a:fillRect/>
          </a:stretch>
        </p:blipFill>
        <p:spPr>
          <a:xfrm>
            <a:off x="5303625" y="535002"/>
            <a:ext cx="1694700" cy="1730100"/>
          </a:xfrm>
          <a:prstGeom prst="ellipse">
            <a:avLst/>
          </a:prstGeom>
          <a:noFill/>
          <a:ln>
            <a:noFill/>
          </a:ln>
        </p:spPr>
      </p:pic>
      <p:pic>
        <p:nvPicPr>
          <p:cNvPr id="316" name="Google Shape;316;g1e2fce8231d_0_0"/>
          <p:cNvPicPr preferRelativeResize="0"/>
          <p:nvPr/>
        </p:nvPicPr>
        <p:blipFill rotWithShape="1">
          <a:blip r:embed="rId10">
            <a:alphaModFix/>
          </a:blip>
          <a:srcRect l="13563" t="8476" r="14442" b="21352"/>
          <a:stretch/>
        </p:blipFill>
        <p:spPr>
          <a:xfrm>
            <a:off x="8245587" y="1451425"/>
            <a:ext cx="2046000" cy="1845000"/>
          </a:xfrm>
          <a:prstGeom prst="ellipse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68C7642-834A-2AB5-56DD-7A313EEBE0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4952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68C7642-834A-2AB5-56DD-7A313EEBE0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4" name="Google Shape;534;g1e30e71edf8_0_28"/>
          <p:cNvSpPr/>
          <p:nvPr/>
        </p:nvSpPr>
        <p:spPr>
          <a:xfrm>
            <a:off x="8016763" y="4477947"/>
            <a:ext cx="540600" cy="75300"/>
          </a:xfrm>
          <a:prstGeom prst="rect">
            <a:avLst/>
          </a:prstGeom>
          <a:solidFill>
            <a:srgbClr val="FFD96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" name="Google Shape;174;g1e2fb608f8b_0_6">
            <a:extLst>
              <a:ext uri="{FF2B5EF4-FFF2-40B4-BE49-F238E27FC236}">
                <a16:creationId xmlns:a16="http://schemas.microsoft.com/office/drawing/2014/main" id="{38287031-D303-3868-4C42-EA7BAD66BB08}"/>
              </a:ext>
            </a:extLst>
          </p:cNvPr>
          <p:cNvSpPr/>
          <p:nvPr/>
        </p:nvSpPr>
        <p:spPr>
          <a:xfrm>
            <a:off x="6957980" y="5553409"/>
            <a:ext cx="540600" cy="75300"/>
          </a:xfrm>
          <a:prstGeom prst="rect">
            <a:avLst/>
          </a:prstGeom>
          <a:solidFill>
            <a:srgbClr val="756E3B"/>
          </a:solidFill>
          <a:ln w="9525" cap="flat" cmpd="sng">
            <a:solidFill>
              <a:srgbClr val="756E3B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7" name="Google Shape;517;g1e30e71edf8_0_28"/>
          <p:cNvSpPr/>
          <p:nvPr/>
        </p:nvSpPr>
        <p:spPr>
          <a:xfrm>
            <a:off x="-5647" y="868135"/>
            <a:ext cx="3399000" cy="49911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8" name="Google Shape;518;g1e30e71edf8_0_28"/>
          <p:cNvSpPr/>
          <p:nvPr/>
        </p:nvSpPr>
        <p:spPr>
          <a:xfrm>
            <a:off x="8668476" y="6337162"/>
            <a:ext cx="1311900" cy="3579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</a:pPr>
            <a:endParaRPr sz="32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19" name="Google Shape;519;g1e30e71edf8_0_28" descr="Shape&#10;&#10;Description automatically generated with low confidence"/>
          <p:cNvPicPr preferRelativeResize="0"/>
          <p:nvPr/>
        </p:nvPicPr>
        <p:blipFill rotWithShape="1">
          <a:blip r:embed="rId6">
            <a:alphaModFix/>
          </a:blip>
          <a:srcRect b="8265"/>
          <a:stretch/>
        </p:blipFill>
        <p:spPr>
          <a:xfrm>
            <a:off x="11443306" y="6220980"/>
            <a:ext cx="457468" cy="419670"/>
          </a:xfrm>
          <a:prstGeom prst="rect">
            <a:avLst/>
          </a:prstGeom>
          <a:noFill/>
          <a:ln>
            <a:noFill/>
          </a:ln>
        </p:spPr>
      </p:pic>
      <p:sp>
        <p:nvSpPr>
          <p:cNvPr id="520" name="Google Shape;520;g1e30e71edf8_0_28"/>
          <p:cNvSpPr txBox="1"/>
          <p:nvPr/>
        </p:nvSpPr>
        <p:spPr>
          <a:xfrm>
            <a:off x="-238773" y="4435523"/>
            <a:ext cx="3745200" cy="1077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r>
              <a:rPr lang="pt-BR" sz="1600" dirty="0">
                <a:latin typeface="Calibri"/>
                <a:ea typeface="Calibri"/>
                <a:cs typeface="Calibri"/>
                <a:sym typeface="Calibri"/>
              </a:rPr>
              <a:t>Ismael Zawit | Ifood</a:t>
            </a:r>
            <a:endParaRPr dirty="0"/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r>
              <a:rPr lang="pt-BR" sz="1600" dirty="0">
                <a:latin typeface="Calibri"/>
                <a:ea typeface="Calibri"/>
                <a:cs typeface="Calibri"/>
                <a:sym typeface="Calibri"/>
              </a:rPr>
              <a:t>23 anos</a:t>
            </a:r>
            <a:endParaRPr dirty="0"/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r>
              <a:rPr lang="pt-BR" sz="1600" dirty="0">
                <a:latin typeface="Calibri"/>
                <a:ea typeface="Calibri"/>
                <a:cs typeface="Calibri"/>
                <a:sym typeface="Calibri"/>
              </a:rPr>
              <a:t>Turma XVIII</a:t>
            </a:r>
            <a:endParaRPr sz="1600" dirty="0"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r>
              <a:rPr lang="pt-BR" sz="1600" dirty="0">
                <a:latin typeface="Calibri"/>
                <a:ea typeface="Calibri"/>
                <a:cs typeface="Calibri"/>
                <a:sym typeface="Calibri"/>
              </a:rPr>
              <a:t>Analista Jr. de Estratégia</a:t>
            </a:r>
            <a:endParaRPr sz="1600" dirty="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2" name="Google Shape;522;g1e30e71edf8_0_28"/>
          <p:cNvSpPr/>
          <p:nvPr/>
        </p:nvSpPr>
        <p:spPr>
          <a:xfrm rot="5400000">
            <a:off x="7190574" y="894342"/>
            <a:ext cx="1095600" cy="556800"/>
          </a:xfrm>
          <a:prstGeom prst="rect">
            <a:avLst/>
          </a:prstGeom>
          <a:solidFill>
            <a:srgbClr val="70AD47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3" name="Google Shape;523;g1e30e71edf8_0_28"/>
          <p:cNvSpPr/>
          <p:nvPr/>
        </p:nvSpPr>
        <p:spPr>
          <a:xfrm rot="5400000">
            <a:off x="7190571" y="1989850"/>
            <a:ext cx="1095600" cy="5568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4" name="Google Shape;524;g1e30e71edf8_0_28"/>
          <p:cNvSpPr/>
          <p:nvPr/>
        </p:nvSpPr>
        <p:spPr>
          <a:xfrm rot="5400000">
            <a:off x="7190568" y="3085359"/>
            <a:ext cx="1095600" cy="556800"/>
          </a:xfrm>
          <a:prstGeom prst="rect">
            <a:avLst/>
          </a:prstGeom>
          <a:solidFill>
            <a:srgbClr val="E78B0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5" name="Google Shape;525;g1e30e71edf8_0_28"/>
          <p:cNvSpPr/>
          <p:nvPr/>
        </p:nvSpPr>
        <p:spPr>
          <a:xfrm rot="5400000">
            <a:off x="7190564" y="4180866"/>
            <a:ext cx="1095600" cy="556800"/>
          </a:xfrm>
          <a:prstGeom prst="rect">
            <a:avLst/>
          </a:prstGeom>
          <a:solidFill>
            <a:srgbClr val="A2AD8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6" name="Google Shape;526;g1e30e71edf8_0_28"/>
          <p:cNvSpPr/>
          <p:nvPr/>
        </p:nvSpPr>
        <p:spPr>
          <a:xfrm rot="5400000">
            <a:off x="7190564" y="5276374"/>
            <a:ext cx="1095600" cy="556800"/>
          </a:xfrm>
          <a:prstGeom prst="rect">
            <a:avLst/>
          </a:prstGeom>
          <a:solidFill>
            <a:srgbClr val="756E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7" name="Google Shape;527;g1e30e71edf8_0_28"/>
          <p:cNvSpPr/>
          <p:nvPr/>
        </p:nvSpPr>
        <p:spPr>
          <a:xfrm>
            <a:off x="5366086" y="390419"/>
            <a:ext cx="1564500" cy="15645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8" name="Google Shape;528;g1e30e71edf8_0_28"/>
          <p:cNvSpPr/>
          <p:nvPr/>
        </p:nvSpPr>
        <p:spPr>
          <a:xfrm>
            <a:off x="8544050" y="1475194"/>
            <a:ext cx="1564500" cy="15645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9" name="Google Shape;529;g1e30e71edf8_0_28"/>
          <p:cNvSpPr/>
          <p:nvPr/>
        </p:nvSpPr>
        <p:spPr>
          <a:xfrm>
            <a:off x="5376670" y="2581435"/>
            <a:ext cx="1564500" cy="15645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30" name="Google Shape;530;g1e30e71edf8_0_28"/>
          <p:cNvSpPr/>
          <p:nvPr/>
        </p:nvSpPr>
        <p:spPr>
          <a:xfrm>
            <a:off x="8548269" y="3694648"/>
            <a:ext cx="1564500" cy="15645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31" name="Google Shape;531;g1e30e71edf8_0_28"/>
          <p:cNvSpPr/>
          <p:nvPr/>
        </p:nvSpPr>
        <p:spPr>
          <a:xfrm>
            <a:off x="5393426" y="4772451"/>
            <a:ext cx="1564500" cy="15645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32" name="Google Shape;532;g1e30e71edf8_0_28"/>
          <p:cNvSpPr/>
          <p:nvPr/>
        </p:nvSpPr>
        <p:spPr>
          <a:xfrm>
            <a:off x="8016763" y="2281486"/>
            <a:ext cx="540600" cy="753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33" name="Google Shape;533;g1e30e71edf8_0_28"/>
          <p:cNvSpPr/>
          <p:nvPr/>
        </p:nvSpPr>
        <p:spPr>
          <a:xfrm>
            <a:off x="6922736" y="1172696"/>
            <a:ext cx="540600" cy="75300"/>
          </a:xfrm>
          <a:prstGeom prst="rect">
            <a:avLst/>
          </a:prstGeom>
          <a:solidFill>
            <a:srgbClr val="70AD47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35" name="Google Shape;535;g1e30e71edf8_0_28"/>
          <p:cNvSpPr/>
          <p:nvPr/>
        </p:nvSpPr>
        <p:spPr>
          <a:xfrm>
            <a:off x="6934489" y="3326805"/>
            <a:ext cx="540600" cy="75300"/>
          </a:xfrm>
          <a:prstGeom prst="rect">
            <a:avLst/>
          </a:prstGeom>
          <a:solidFill>
            <a:srgbClr val="E78B0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37" name="Google Shape;537;g1e30e71edf8_0_28"/>
          <p:cNvSpPr/>
          <p:nvPr/>
        </p:nvSpPr>
        <p:spPr>
          <a:xfrm>
            <a:off x="7657434" y="1178710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38" name="Google Shape;538;g1e30e71edf8_0_28"/>
          <p:cNvSpPr/>
          <p:nvPr/>
        </p:nvSpPr>
        <p:spPr>
          <a:xfrm>
            <a:off x="7657434" y="2229229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39" name="Google Shape;539;g1e30e71edf8_0_28"/>
          <p:cNvSpPr/>
          <p:nvPr/>
        </p:nvSpPr>
        <p:spPr>
          <a:xfrm>
            <a:off x="7649433" y="3243774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40" name="Google Shape;540;g1e30e71edf8_0_28"/>
          <p:cNvSpPr/>
          <p:nvPr/>
        </p:nvSpPr>
        <p:spPr>
          <a:xfrm>
            <a:off x="7649432" y="4456565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41" name="Google Shape;541;g1e30e71edf8_0_28"/>
          <p:cNvSpPr/>
          <p:nvPr/>
        </p:nvSpPr>
        <p:spPr>
          <a:xfrm>
            <a:off x="7649432" y="5512741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42" name="Google Shape;542;g1e30e71edf8_0_28"/>
          <p:cNvSpPr txBox="1"/>
          <p:nvPr/>
        </p:nvSpPr>
        <p:spPr>
          <a:xfrm>
            <a:off x="10213367" y="2073757"/>
            <a:ext cx="1214484" cy="4154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Calibri"/>
              <a:buNone/>
            </a:pPr>
            <a:r>
              <a:rPr lang="pt-BR" sz="1100" b="1" dirty="0">
                <a:latin typeface="Calibri"/>
                <a:ea typeface="Calibri"/>
                <a:cs typeface="Calibri"/>
                <a:sym typeface="Calibri"/>
              </a:rPr>
              <a:t>República Mukifu</a:t>
            </a:r>
            <a:br>
              <a:rPr lang="pt-BR" sz="11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000" i="1" dirty="0">
                <a:latin typeface="Calibri"/>
                <a:ea typeface="Calibri"/>
                <a:cs typeface="Calibri"/>
                <a:sym typeface="Calibri"/>
              </a:rPr>
              <a:t>2018 - 2022</a:t>
            </a:r>
            <a:endParaRPr sz="11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43" name="Google Shape;543;g1e30e71edf8_0_28"/>
          <p:cNvSpPr txBox="1"/>
          <p:nvPr/>
        </p:nvSpPr>
        <p:spPr>
          <a:xfrm>
            <a:off x="3661782" y="2963156"/>
            <a:ext cx="1627716" cy="7232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</a:pPr>
            <a:r>
              <a:rPr lang="pt-BR" sz="11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nactus FZEA USP</a:t>
            </a:r>
            <a:br>
              <a:rPr lang="pt-BR" sz="11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000" i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018 – 2021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</a:pPr>
            <a:r>
              <a:rPr lang="pt-BR" sz="1000" i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“Uma ideia sem ação, é como um arco sem flecha”</a:t>
            </a:r>
            <a:endParaRPr sz="1100" dirty="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44" name="Google Shape;544;g1e30e71edf8_0_28"/>
          <p:cNvSpPr txBox="1"/>
          <p:nvPr/>
        </p:nvSpPr>
        <p:spPr>
          <a:xfrm>
            <a:off x="10290738" y="4192225"/>
            <a:ext cx="1214485" cy="5693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</a:pPr>
            <a:r>
              <a:rPr lang="pt-BR" sz="11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stágio PUB</a:t>
            </a:r>
            <a:br>
              <a:rPr lang="pt-BR" sz="11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000" i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ZEA na Rede</a:t>
            </a:r>
            <a:br>
              <a:rPr lang="pt-BR" sz="1000" i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000" i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019 - 2021</a:t>
            </a:r>
            <a:endParaRPr sz="1000" i="1" dirty="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45" name="Google Shape;545;g1e30e71edf8_0_28"/>
          <p:cNvSpPr txBox="1"/>
          <p:nvPr/>
        </p:nvSpPr>
        <p:spPr>
          <a:xfrm>
            <a:off x="3419470" y="5395099"/>
            <a:ext cx="1957200" cy="600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</a:pPr>
            <a:r>
              <a:rPr lang="pt-BR" sz="11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ssociação de Repúblicas de Pirassununga (ARP)</a:t>
            </a:r>
            <a:br>
              <a:rPr lang="pt-BR" sz="11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1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019 - 2021</a:t>
            </a:r>
            <a:endParaRPr sz="1100" b="1" dirty="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46" name="Google Shape;546;g1e30e71edf8_0_28"/>
          <p:cNvSpPr txBox="1"/>
          <p:nvPr/>
        </p:nvSpPr>
        <p:spPr>
          <a:xfrm>
            <a:off x="3484753" y="794762"/>
            <a:ext cx="1957200" cy="769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Calibri"/>
              <a:buNone/>
            </a:pPr>
            <a:r>
              <a:rPr lang="pt-BR" sz="1100" b="1" dirty="0">
                <a:latin typeface="Calibri"/>
                <a:ea typeface="Calibri"/>
                <a:cs typeface="Calibri"/>
                <a:sym typeface="Calibri"/>
              </a:rPr>
              <a:t>Ingresso USP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Calibri"/>
              <a:buNone/>
            </a:pPr>
            <a:r>
              <a:rPr lang="pt-BR" sz="1100" i="1" dirty="0">
                <a:latin typeface="Calibri"/>
                <a:ea typeface="Calibri"/>
                <a:cs typeface="Calibri"/>
                <a:sym typeface="Calibri"/>
              </a:rPr>
              <a:t>Engenharia de Alimentos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Calibri"/>
              <a:buNone/>
            </a:pPr>
            <a:r>
              <a:rPr lang="pt-BR" sz="1100" i="1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Turma XVIII</a:t>
            </a:r>
            <a:br>
              <a:rPr lang="pt-BR" sz="11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100" b="0" i="1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2018</a:t>
            </a:r>
            <a:endParaRPr sz="1100" b="0" i="1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47" name="Google Shape;547;g1e30e71edf8_0_28"/>
          <p:cNvSpPr/>
          <p:nvPr/>
        </p:nvSpPr>
        <p:spPr>
          <a:xfrm>
            <a:off x="11900774" y="933450"/>
            <a:ext cx="291300" cy="49911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" name="Google Shape;478;g1e301dd1749_0_0">
            <a:extLst>
              <a:ext uri="{FF2B5EF4-FFF2-40B4-BE49-F238E27FC236}">
                <a16:creationId xmlns:a16="http://schemas.microsoft.com/office/drawing/2014/main" id="{0821D924-9031-8D48-C87F-A0B6D8B48DE8}"/>
              </a:ext>
            </a:extLst>
          </p:cNvPr>
          <p:cNvPicPr preferRelativeResize="0"/>
          <p:nvPr/>
        </p:nvPicPr>
        <p:blipFill>
          <a:blip r:embed="rId7"/>
          <a:srcRect t="9627" b="9627"/>
          <a:stretch/>
        </p:blipFill>
        <p:spPr>
          <a:xfrm>
            <a:off x="141375" y="1137475"/>
            <a:ext cx="2987700" cy="3115710"/>
          </a:xfrm>
          <a:prstGeom prst="ellipse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"/>
            <a:headEnd type="none" w="sm" len="sm"/>
            <a:tailEnd type="none" w="sm" len="sm"/>
          </a:ln>
        </p:spPr>
      </p:pic>
      <p:pic>
        <p:nvPicPr>
          <p:cNvPr id="10" name="Picture 9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480C973F-1225-7FF8-EC26-4B1892BF96BD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6586" b="38377"/>
          <a:stretch/>
        </p:blipFill>
        <p:spPr>
          <a:xfrm>
            <a:off x="8521947" y="1460927"/>
            <a:ext cx="1613321" cy="1614645"/>
          </a:xfrm>
          <a:prstGeom prst="flowChartConnector">
            <a:avLst/>
          </a:prstGeom>
        </p:spPr>
      </p:pic>
      <p:pic>
        <p:nvPicPr>
          <p:cNvPr id="12" name="Picture 11" descr="A picture containing person, human face, smile, clothing&#10;&#10;Description automatically generated">
            <a:extLst>
              <a:ext uri="{FF2B5EF4-FFF2-40B4-BE49-F238E27FC236}">
                <a16:creationId xmlns:a16="http://schemas.microsoft.com/office/drawing/2014/main" id="{01E7CD04-7173-06B7-1191-511A6C7BE058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19549" b="13211"/>
          <a:stretch/>
        </p:blipFill>
        <p:spPr>
          <a:xfrm>
            <a:off x="5345062" y="2568160"/>
            <a:ext cx="1627716" cy="1641695"/>
          </a:xfrm>
          <a:prstGeom prst="flowChartConnector">
            <a:avLst/>
          </a:prstGeom>
        </p:spPr>
      </p:pic>
      <p:pic>
        <p:nvPicPr>
          <p:cNvPr id="16" name="Picture 15" descr="A black background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3174A08D-A06C-3AC4-AC60-AE339A38B2A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776650" y="3935864"/>
            <a:ext cx="1108630" cy="999318"/>
          </a:xfrm>
          <a:prstGeom prst="rect">
            <a:avLst/>
          </a:prstGeom>
        </p:spPr>
      </p:pic>
      <p:pic>
        <p:nvPicPr>
          <p:cNvPr id="18" name="Picture 17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5FD8F9DC-044F-4205-19F3-FCB9D46D7FE0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5146" t="3746" r="12975" b="12659"/>
          <a:stretch/>
        </p:blipFill>
        <p:spPr>
          <a:xfrm>
            <a:off x="5345062" y="4733250"/>
            <a:ext cx="1627716" cy="1640318"/>
          </a:xfrm>
          <a:prstGeom prst="flowChartConnector">
            <a:avLst/>
          </a:prstGeom>
        </p:spPr>
      </p:pic>
      <p:pic>
        <p:nvPicPr>
          <p:cNvPr id="20" name="Picture 19" descr="A picture containing sky, building, outdoor, tree&#10;&#10;Description automatically generated">
            <a:extLst>
              <a:ext uri="{FF2B5EF4-FFF2-40B4-BE49-F238E27FC236}">
                <a16:creationId xmlns:a16="http://schemas.microsoft.com/office/drawing/2014/main" id="{A721C4C0-9CB0-3F6F-B7BF-077A824A0D02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11049" r="19038"/>
          <a:stretch/>
        </p:blipFill>
        <p:spPr>
          <a:xfrm>
            <a:off x="5338123" y="385541"/>
            <a:ext cx="1613321" cy="1614645"/>
          </a:xfrm>
          <a:prstGeom prst="flowChartConnector">
            <a:avLst/>
          </a:prstGeom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" name="Google Shape;553;g1e30e71edf8_0_108"/>
          <p:cNvSpPr/>
          <p:nvPr/>
        </p:nvSpPr>
        <p:spPr>
          <a:xfrm>
            <a:off x="0" y="390420"/>
            <a:ext cx="3399000" cy="606175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4" name="Google Shape;554;g1e30e71edf8_0_108"/>
          <p:cNvSpPr/>
          <p:nvPr/>
        </p:nvSpPr>
        <p:spPr>
          <a:xfrm>
            <a:off x="8668476" y="6337162"/>
            <a:ext cx="1311900" cy="3579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</a:pPr>
            <a:endParaRPr sz="32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55" name="Google Shape;555;g1e30e71edf8_0_108" descr="Shape&#10;&#10;Description automatically generated with low confidence"/>
          <p:cNvPicPr preferRelativeResize="0"/>
          <p:nvPr/>
        </p:nvPicPr>
        <p:blipFill rotWithShape="1">
          <a:blip r:embed="rId3">
            <a:alphaModFix/>
          </a:blip>
          <a:srcRect b="8265"/>
          <a:stretch/>
        </p:blipFill>
        <p:spPr>
          <a:xfrm>
            <a:off x="11443306" y="6220980"/>
            <a:ext cx="457468" cy="419670"/>
          </a:xfrm>
          <a:prstGeom prst="rect">
            <a:avLst/>
          </a:prstGeom>
          <a:noFill/>
          <a:ln>
            <a:noFill/>
          </a:ln>
        </p:spPr>
      </p:pic>
      <p:sp>
        <p:nvSpPr>
          <p:cNvPr id="558" name="Google Shape;558;g1e30e71edf8_0_108"/>
          <p:cNvSpPr/>
          <p:nvPr/>
        </p:nvSpPr>
        <p:spPr>
          <a:xfrm rot="5400000">
            <a:off x="7509068" y="894342"/>
            <a:ext cx="1095600" cy="556800"/>
          </a:xfrm>
          <a:prstGeom prst="rect">
            <a:avLst/>
          </a:prstGeom>
          <a:solidFill>
            <a:srgbClr val="70AD47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9" name="Google Shape;559;g1e30e71edf8_0_108"/>
          <p:cNvSpPr/>
          <p:nvPr/>
        </p:nvSpPr>
        <p:spPr>
          <a:xfrm rot="5400000">
            <a:off x="7509065" y="1989850"/>
            <a:ext cx="1095600" cy="5568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0" name="Google Shape;560;g1e30e71edf8_0_108"/>
          <p:cNvSpPr/>
          <p:nvPr/>
        </p:nvSpPr>
        <p:spPr>
          <a:xfrm rot="5400000">
            <a:off x="7509062" y="3085359"/>
            <a:ext cx="1095600" cy="556800"/>
          </a:xfrm>
          <a:prstGeom prst="rect">
            <a:avLst/>
          </a:prstGeom>
          <a:solidFill>
            <a:srgbClr val="E78B0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3" name="Google Shape;563;g1e30e71edf8_0_108"/>
          <p:cNvSpPr/>
          <p:nvPr/>
        </p:nvSpPr>
        <p:spPr>
          <a:xfrm>
            <a:off x="5684580" y="390419"/>
            <a:ext cx="1564500" cy="15645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4" name="Google Shape;564;g1e30e71edf8_0_108"/>
          <p:cNvSpPr/>
          <p:nvPr/>
        </p:nvSpPr>
        <p:spPr>
          <a:xfrm>
            <a:off x="8862544" y="1475194"/>
            <a:ext cx="1564500" cy="15645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5" name="Google Shape;565;g1e30e71edf8_0_108"/>
          <p:cNvSpPr/>
          <p:nvPr/>
        </p:nvSpPr>
        <p:spPr>
          <a:xfrm>
            <a:off x="5695164" y="2581435"/>
            <a:ext cx="1564500" cy="15645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8" name="Google Shape;568;g1e30e71edf8_0_108"/>
          <p:cNvSpPr/>
          <p:nvPr/>
        </p:nvSpPr>
        <p:spPr>
          <a:xfrm>
            <a:off x="8335257" y="2281486"/>
            <a:ext cx="540600" cy="753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9" name="Google Shape;569;g1e30e71edf8_0_108"/>
          <p:cNvSpPr/>
          <p:nvPr/>
        </p:nvSpPr>
        <p:spPr>
          <a:xfrm>
            <a:off x="7241230" y="1172696"/>
            <a:ext cx="540600" cy="75300"/>
          </a:xfrm>
          <a:prstGeom prst="rect">
            <a:avLst/>
          </a:prstGeom>
          <a:solidFill>
            <a:srgbClr val="70AD47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1" name="Google Shape;571;g1e30e71edf8_0_108"/>
          <p:cNvSpPr/>
          <p:nvPr/>
        </p:nvSpPr>
        <p:spPr>
          <a:xfrm>
            <a:off x="7252983" y="3326805"/>
            <a:ext cx="540600" cy="75300"/>
          </a:xfrm>
          <a:prstGeom prst="rect">
            <a:avLst/>
          </a:prstGeom>
          <a:solidFill>
            <a:srgbClr val="E78B0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3" name="Google Shape;573;g1e30e71edf8_0_108"/>
          <p:cNvSpPr/>
          <p:nvPr/>
        </p:nvSpPr>
        <p:spPr>
          <a:xfrm>
            <a:off x="7975928" y="1178710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4" name="Google Shape;574;g1e30e71edf8_0_108"/>
          <p:cNvSpPr/>
          <p:nvPr/>
        </p:nvSpPr>
        <p:spPr>
          <a:xfrm>
            <a:off x="7975928" y="2229229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5" name="Google Shape;575;g1e30e71edf8_0_108"/>
          <p:cNvSpPr/>
          <p:nvPr/>
        </p:nvSpPr>
        <p:spPr>
          <a:xfrm>
            <a:off x="7967927" y="3243774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8" name="Google Shape;578;g1e30e71edf8_0_108"/>
          <p:cNvSpPr txBox="1"/>
          <p:nvPr/>
        </p:nvSpPr>
        <p:spPr>
          <a:xfrm>
            <a:off x="3378960" y="811127"/>
            <a:ext cx="2325661" cy="769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Calibri"/>
              <a:buNone/>
            </a:pPr>
            <a:r>
              <a:rPr lang="pt-BR" sz="1100" b="1" dirty="0">
                <a:latin typeface="Calibri"/>
                <a:ea typeface="Calibri"/>
                <a:cs typeface="Calibri"/>
                <a:sym typeface="Calibri"/>
              </a:rPr>
              <a:t>Estágio</a:t>
            </a:r>
            <a:endParaRPr lang="pt-BR" sz="1100" dirty="0"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Calibri"/>
              <a:buNone/>
            </a:pPr>
            <a:r>
              <a:rPr lang="pt-BR" sz="1100" b="0" i="1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Johnson&amp;Johnson Consumer Health</a:t>
            </a:r>
            <a:br>
              <a:rPr lang="pt-BR" sz="1100" b="0" i="1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100" b="0" i="1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Estratégia Brasil</a:t>
            </a:r>
            <a:br>
              <a:rPr lang="pt-BR" sz="11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100" b="0" i="1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Jan/</a:t>
            </a:r>
            <a:r>
              <a:rPr lang="pt-BR" sz="1000" i="1" dirty="0">
                <a:latin typeface="Calibri"/>
                <a:ea typeface="Calibri"/>
                <a:cs typeface="Calibri"/>
                <a:sym typeface="Calibri"/>
              </a:rPr>
              <a:t>2022 -  Abr/2023</a:t>
            </a:r>
            <a:endParaRPr sz="1100" b="0" i="1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9" name="Google Shape;579;g1e30e71edf8_0_108"/>
          <p:cNvSpPr txBox="1"/>
          <p:nvPr/>
        </p:nvSpPr>
        <p:spPr>
          <a:xfrm>
            <a:off x="10234800" y="1817467"/>
            <a:ext cx="1957200" cy="7540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</a:pPr>
            <a:r>
              <a:rPr lang="pt-BR" sz="11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NECTA</a:t>
            </a:r>
            <a:br>
              <a:rPr lang="pt-BR" sz="11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100" i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Johnson&amp;Johnson</a:t>
            </a:r>
            <a:br>
              <a:rPr lang="pt-BR" sz="1100" i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100" i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ssessor de Eventos</a:t>
            </a:r>
            <a:r>
              <a:rPr lang="pt-BR" sz="11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br>
              <a:rPr lang="pt-BR" sz="11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000" i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022</a:t>
            </a:r>
            <a:endParaRPr sz="1100" dirty="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0" name="Google Shape;580;g1e30e71edf8_0_108"/>
          <p:cNvSpPr txBox="1"/>
          <p:nvPr/>
        </p:nvSpPr>
        <p:spPr>
          <a:xfrm>
            <a:off x="3685659" y="3088007"/>
            <a:ext cx="1957200" cy="769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</a:pPr>
            <a:r>
              <a:rPr lang="pt-BR" sz="11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fetivação - Analista Jr.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</a:pPr>
            <a:r>
              <a:rPr lang="pt-BR" sz="1100" i="1" dirty="0">
                <a:latin typeface="Calibri"/>
                <a:ea typeface="Calibri"/>
                <a:cs typeface="Calibri"/>
                <a:sym typeface="Calibri"/>
              </a:rPr>
              <a:t>Kenvue (família do grupo J&amp;J)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</a:pPr>
            <a:r>
              <a:rPr lang="pt-BR" sz="1100" i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stratégia LatAm</a:t>
            </a:r>
            <a:br>
              <a:rPr lang="pt-BR" sz="11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100" i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i/</a:t>
            </a:r>
            <a:r>
              <a:rPr lang="pt-BR" sz="1000" i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023 – até o momento</a:t>
            </a:r>
            <a:endParaRPr sz="1000" i="1" dirty="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3" name="Google Shape;583;g1e30e71edf8_0_108"/>
          <p:cNvSpPr/>
          <p:nvPr/>
        </p:nvSpPr>
        <p:spPr>
          <a:xfrm>
            <a:off x="11900774" y="933450"/>
            <a:ext cx="291300" cy="49911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" name="Picture 1" descr="A person in a blue shirt&#10;&#10;Description automatically generated with medium confidence">
            <a:extLst>
              <a:ext uri="{FF2B5EF4-FFF2-40B4-BE49-F238E27FC236}">
                <a16:creationId xmlns:a16="http://schemas.microsoft.com/office/drawing/2014/main" id="{2ACE2C29-2964-B586-FA27-E6A6D9C576A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820" t="5378" r="1260" b="30229"/>
          <a:stretch/>
        </p:blipFill>
        <p:spPr>
          <a:xfrm>
            <a:off x="5611024" y="2555916"/>
            <a:ext cx="1704021" cy="1678768"/>
          </a:xfrm>
          <a:prstGeom prst="flowChartConnector">
            <a:avLst/>
          </a:prstGeom>
        </p:spPr>
      </p:pic>
      <p:pic>
        <p:nvPicPr>
          <p:cNvPr id="1026" name="Picture 2" descr="Empregos em Kenvue - Brasil - beBee">
            <a:extLst>
              <a:ext uri="{FF2B5EF4-FFF2-40B4-BE49-F238E27FC236}">
                <a16:creationId xmlns:a16="http://schemas.microsoft.com/office/drawing/2014/main" id="{53E87A9E-B83D-AA01-9AA2-88748D1299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8354" y="3911559"/>
            <a:ext cx="450951" cy="450951"/>
          </a:xfrm>
          <a:prstGeom prst="flowChartConnector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Google Shape;478;g1e301dd1749_0_0">
            <a:extLst>
              <a:ext uri="{FF2B5EF4-FFF2-40B4-BE49-F238E27FC236}">
                <a16:creationId xmlns:a16="http://schemas.microsoft.com/office/drawing/2014/main" id="{88D131E9-7C55-EA79-1B41-E71D754327D4}"/>
              </a:ext>
            </a:extLst>
          </p:cNvPr>
          <p:cNvPicPr preferRelativeResize="0"/>
          <p:nvPr/>
        </p:nvPicPr>
        <p:blipFill>
          <a:blip r:embed="rId6"/>
          <a:srcRect t="9627" b="9627"/>
          <a:stretch/>
        </p:blipFill>
        <p:spPr>
          <a:xfrm>
            <a:off x="141375" y="654588"/>
            <a:ext cx="2987700" cy="3115710"/>
          </a:xfrm>
          <a:prstGeom prst="ellipse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"/>
            <a:headEnd type="none" w="sm" len="sm"/>
            <a:tailEnd type="none" w="sm" len="sm"/>
          </a:ln>
        </p:spPr>
      </p:pic>
      <p:sp>
        <p:nvSpPr>
          <p:cNvPr id="7" name="Google Shape;520;g1e30e71edf8_0_28">
            <a:extLst>
              <a:ext uri="{FF2B5EF4-FFF2-40B4-BE49-F238E27FC236}">
                <a16:creationId xmlns:a16="http://schemas.microsoft.com/office/drawing/2014/main" id="{7BAC54AE-9ABC-77DF-6C4B-7A3467027863}"/>
              </a:ext>
            </a:extLst>
          </p:cNvPr>
          <p:cNvSpPr txBox="1"/>
          <p:nvPr/>
        </p:nvSpPr>
        <p:spPr>
          <a:xfrm>
            <a:off x="-267282" y="3911559"/>
            <a:ext cx="3745200" cy="1077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r>
              <a:rPr lang="pt-BR" sz="1600" dirty="0">
                <a:latin typeface="Calibri"/>
                <a:ea typeface="Calibri"/>
                <a:cs typeface="Calibri"/>
                <a:sym typeface="Calibri"/>
              </a:rPr>
              <a:t>Ismael Zawit | Ifood</a:t>
            </a:r>
            <a:endParaRPr dirty="0"/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r>
              <a:rPr lang="pt-BR" sz="1600" dirty="0">
                <a:latin typeface="Calibri"/>
                <a:ea typeface="Calibri"/>
                <a:cs typeface="Calibri"/>
                <a:sym typeface="Calibri"/>
              </a:rPr>
              <a:t>23 anos</a:t>
            </a:r>
            <a:endParaRPr dirty="0"/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r>
              <a:rPr lang="pt-BR" sz="1600" dirty="0">
                <a:latin typeface="Calibri"/>
                <a:ea typeface="Calibri"/>
                <a:cs typeface="Calibri"/>
                <a:sym typeface="Calibri"/>
              </a:rPr>
              <a:t>Turma XVIII</a:t>
            </a:r>
            <a:endParaRPr sz="1600" dirty="0"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r>
              <a:rPr lang="pt-BR" sz="1600" dirty="0">
                <a:latin typeface="Calibri"/>
                <a:ea typeface="Calibri"/>
                <a:cs typeface="Calibri"/>
                <a:sym typeface="Calibri"/>
              </a:rPr>
              <a:t>Analista Jr. de Estratégia</a:t>
            </a:r>
            <a:endParaRPr sz="1600" dirty="0"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028" name="Picture 4" descr="Johnson &amp; Johnson Consumer Health - Next Steps in Dermatology">
            <a:extLst>
              <a:ext uri="{FF2B5EF4-FFF2-40B4-BE49-F238E27FC236}">
                <a16:creationId xmlns:a16="http://schemas.microsoft.com/office/drawing/2014/main" id="{63D39430-68C6-1CE1-B458-173A4FB456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0766" y="1634679"/>
            <a:ext cx="1439810" cy="3655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Google Shape;229;g1e2fb608f8b_0_42">
            <a:extLst>
              <a:ext uri="{FF2B5EF4-FFF2-40B4-BE49-F238E27FC236}">
                <a16:creationId xmlns:a16="http://schemas.microsoft.com/office/drawing/2014/main" id="{09369048-9028-96E3-1E5C-01BBB52EDD97}"/>
              </a:ext>
            </a:extLst>
          </p:cNvPr>
          <p:cNvSpPr txBox="1"/>
          <p:nvPr/>
        </p:nvSpPr>
        <p:spPr>
          <a:xfrm>
            <a:off x="909206" y="4703176"/>
            <a:ext cx="1739709" cy="13233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br>
              <a:rPr lang="pt-BR" sz="1600" dirty="0">
                <a:latin typeface="Calibri"/>
                <a:ea typeface="Calibri"/>
                <a:cs typeface="Calibri"/>
                <a:sym typeface="Calibri"/>
              </a:rPr>
            </a:br>
            <a:br>
              <a:rPr lang="pt-BR" sz="1600" dirty="0">
                <a:latin typeface="Calibri"/>
                <a:ea typeface="Calibri"/>
                <a:cs typeface="Calibri"/>
                <a:sym typeface="Calibri"/>
              </a:rPr>
            </a:br>
            <a:r>
              <a:rPr lang="pt-BR" sz="1600" dirty="0">
                <a:latin typeface="Calibri"/>
                <a:ea typeface="Calibri"/>
                <a:cs typeface="Calibri"/>
                <a:sym typeface="Calibri"/>
              </a:rPr>
              <a:t>Ismael Zawit</a:t>
            </a:r>
            <a:br>
              <a:rPr lang="pt-BR" sz="1600" dirty="0">
                <a:latin typeface="Calibri"/>
                <a:ea typeface="Calibri"/>
                <a:cs typeface="Calibri"/>
                <a:sym typeface="Calibri"/>
              </a:rPr>
            </a:br>
            <a:endParaRPr sz="1600" dirty="0"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r>
              <a:rPr lang="pt-BR" sz="1600" dirty="0">
                <a:latin typeface="Calibri"/>
                <a:ea typeface="Calibri"/>
                <a:cs typeface="Calibri"/>
                <a:sym typeface="Calibri"/>
              </a:rPr>
              <a:t>(11) 96902-6769</a:t>
            </a:r>
            <a:endParaRPr sz="1600" dirty="0"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" name="Google Shape;232;g1e2fb608f8b_0_42">
            <a:extLst>
              <a:ext uri="{FF2B5EF4-FFF2-40B4-BE49-F238E27FC236}">
                <a16:creationId xmlns:a16="http://schemas.microsoft.com/office/drawing/2014/main" id="{9E11870A-CD8F-18F3-08A6-6CF4A24027F7}"/>
              </a:ext>
            </a:extLst>
          </p:cNvPr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551961" y="5697981"/>
            <a:ext cx="291300" cy="2913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Google Shape;233;g1e2fb608f8b_0_42">
            <a:extLst>
              <a:ext uri="{FF2B5EF4-FFF2-40B4-BE49-F238E27FC236}">
                <a16:creationId xmlns:a16="http://schemas.microsoft.com/office/drawing/2014/main" id="{DEEEB842-02DA-9948-FC99-4909BA68E80F}"/>
              </a:ext>
            </a:extLst>
          </p:cNvPr>
          <p:cNvPicPr preferRelativeResize="0"/>
          <p:nvPr/>
        </p:nvPicPr>
        <p:blipFill>
          <a:blip r:embed="rId9">
            <a:alphaModFix/>
          </a:blip>
          <a:stretch>
            <a:fillRect/>
          </a:stretch>
        </p:blipFill>
        <p:spPr>
          <a:xfrm>
            <a:off x="581086" y="5219274"/>
            <a:ext cx="291300" cy="2913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837884C0-6DE0-13C0-9403-CC39308865E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465" b="6719"/>
          <a:stretch/>
        </p:blipFill>
        <p:spPr bwMode="auto">
          <a:xfrm>
            <a:off x="8862544" y="1475194"/>
            <a:ext cx="1611407" cy="1564500"/>
          </a:xfrm>
          <a:prstGeom prst="flowChartConnector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0CCEDD8D-B56B-C81B-A6B5-933A1110DB6E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16068" r="23900"/>
          <a:stretch/>
        </p:blipFill>
        <p:spPr>
          <a:xfrm>
            <a:off x="5641580" y="402203"/>
            <a:ext cx="1636695" cy="1609837"/>
          </a:xfrm>
          <a:prstGeom prst="flowChartConnector">
            <a:avLst/>
          </a:prstGeom>
        </p:spPr>
      </p:pic>
      <p:sp>
        <p:nvSpPr>
          <p:cNvPr id="16" name="Google Shape;163;g1e2fb608f8b_0_6">
            <a:extLst>
              <a:ext uri="{FF2B5EF4-FFF2-40B4-BE49-F238E27FC236}">
                <a16:creationId xmlns:a16="http://schemas.microsoft.com/office/drawing/2014/main" id="{381C66B0-36CA-402F-B6B4-3C97254C09D2}"/>
              </a:ext>
            </a:extLst>
          </p:cNvPr>
          <p:cNvSpPr/>
          <p:nvPr/>
        </p:nvSpPr>
        <p:spPr>
          <a:xfrm rot="5400000">
            <a:off x="7509059" y="4178388"/>
            <a:ext cx="1095600" cy="556800"/>
          </a:xfrm>
          <a:prstGeom prst="rect">
            <a:avLst/>
          </a:prstGeom>
          <a:solidFill>
            <a:srgbClr val="A2AD8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" name="Google Shape;172;g1e2fb608f8b_0_6">
            <a:extLst>
              <a:ext uri="{FF2B5EF4-FFF2-40B4-BE49-F238E27FC236}">
                <a16:creationId xmlns:a16="http://schemas.microsoft.com/office/drawing/2014/main" id="{95388A43-3B35-3E10-F14D-516F305A2C39}"/>
              </a:ext>
            </a:extLst>
          </p:cNvPr>
          <p:cNvSpPr/>
          <p:nvPr/>
        </p:nvSpPr>
        <p:spPr>
          <a:xfrm>
            <a:off x="8335258" y="4372729"/>
            <a:ext cx="540600" cy="75300"/>
          </a:xfrm>
          <a:prstGeom prst="rect">
            <a:avLst/>
          </a:prstGeom>
          <a:solidFill>
            <a:srgbClr val="A2AD8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" name="Google Shape;178;g1e2fb608f8b_0_6">
            <a:extLst>
              <a:ext uri="{FF2B5EF4-FFF2-40B4-BE49-F238E27FC236}">
                <a16:creationId xmlns:a16="http://schemas.microsoft.com/office/drawing/2014/main" id="{4B92BCB9-4C75-3B37-5F86-FF3959DAF78A}"/>
              </a:ext>
            </a:extLst>
          </p:cNvPr>
          <p:cNvSpPr/>
          <p:nvPr/>
        </p:nvSpPr>
        <p:spPr>
          <a:xfrm>
            <a:off x="7967927" y="4341073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" name="Google Shape;457;g1e301dd1749_0_0">
            <a:extLst>
              <a:ext uri="{FF2B5EF4-FFF2-40B4-BE49-F238E27FC236}">
                <a16:creationId xmlns:a16="http://schemas.microsoft.com/office/drawing/2014/main" id="{E7159095-3871-7182-6B0D-3E2CB90B0655}"/>
              </a:ext>
            </a:extLst>
          </p:cNvPr>
          <p:cNvSpPr/>
          <p:nvPr/>
        </p:nvSpPr>
        <p:spPr>
          <a:xfrm>
            <a:off x="8875857" y="3613979"/>
            <a:ext cx="1564500" cy="15645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032" name="Picture 8" descr="Ponto de interrogação em um fundo preto circular | Ícone Gratis">
            <a:extLst>
              <a:ext uri="{FF2B5EF4-FFF2-40B4-BE49-F238E27FC236}">
                <a16:creationId xmlns:a16="http://schemas.microsoft.com/office/drawing/2014/main" id="{F12E2241-112E-174C-FF31-B68817C0D2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8681" y="3899363"/>
            <a:ext cx="949762" cy="949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Google Shape;579;g1e30e71edf8_0_108">
            <a:extLst>
              <a:ext uri="{FF2B5EF4-FFF2-40B4-BE49-F238E27FC236}">
                <a16:creationId xmlns:a16="http://schemas.microsoft.com/office/drawing/2014/main" id="{2DC1C54C-3B50-12A5-6AAE-A4C31711DD67}"/>
              </a:ext>
            </a:extLst>
          </p:cNvPr>
          <p:cNvSpPr txBox="1"/>
          <p:nvPr/>
        </p:nvSpPr>
        <p:spPr>
          <a:xfrm>
            <a:off x="10372034" y="4041011"/>
            <a:ext cx="1611407" cy="600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</a:pPr>
            <a:r>
              <a:rPr lang="pt-BR" sz="11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ormação</a:t>
            </a:r>
            <a:br>
              <a:rPr lang="pt-BR" sz="11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100" i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ngenharia de Alimentos</a:t>
            </a:r>
            <a:br>
              <a:rPr lang="pt-BR" sz="1100" i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100" i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guardando...</a:t>
            </a:r>
            <a:endParaRPr sz="1100" dirty="0"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51DCED7-4006-ACE4-B73F-317660FE32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51179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1DCED7-4006-ACE4-B73F-317660FE32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97;p2">
            <a:extLst>
              <a:ext uri="{FF2B5EF4-FFF2-40B4-BE49-F238E27FC236}">
                <a16:creationId xmlns:a16="http://schemas.microsoft.com/office/drawing/2014/main" id="{4990536E-2F4D-E07A-40DF-F9192C10DD76}"/>
              </a:ext>
            </a:extLst>
          </p:cNvPr>
          <p:cNvSpPr/>
          <p:nvPr/>
        </p:nvSpPr>
        <p:spPr>
          <a:xfrm>
            <a:off x="-4081" y="933450"/>
            <a:ext cx="2401841" cy="49911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488D6EC-1C5A-5513-5569-A4A083524D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t-BR" dirty="0"/>
              <a:t>Agend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E3104B-46AA-2418-3E70-51D67030DF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87039" y="1097561"/>
            <a:ext cx="6596009" cy="361093"/>
          </a:xfrm>
        </p:spPr>
        <p:txBody>
          <a:bodyPr/>
          <a:lstStyle/>
          <a:p>
            <a:r>
              <a:rPr lang="pt-BR" dirty="0"/>
              <a:t>Mesa Redonda – Versatilidade do Engenheiro de Alimento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99B4E8B-C145-11ED-3C80-CF928807C9CB}"/>
              </a:ext>
            </a:extLst>
          </p:cNvPr>
          <p:cNvSpPr txBox="1"/>
          <p:nvPr/>
        </p:nvSpPr>
        <p:spPr>
          <a:xfrm>
            <a:off x="2657725" y="2480548"/>
            <a:ext cx="7054636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400" b="1" dirty="0"/>
              <a:t>10h00 – 10h10: Introdução da palestra (Ivana)</a:t>
            </a:r>
            <a:br>
              <a:rPr lang="pt-BR" sz="2400" b="1" dirty="0"/>
            </a:br>
            <a:r>
              <a:rPr lang="pt-BR" sz="2400" b="1" dirty="0"/>
              <a:t>10h10 – 11h10: Apresentação dos Convidados</a:t>
            </a:r>
            <a:br>
              <a:rPr lang="pt-BR" sz="2400" b="1" dirty="0"/>
            </a:br>
            <a:r>
              <a:rPr lang="pt-BR" sz="2400" b="1" dirty="0"/>
              <a:t>11h10 – 11h40: Mesa Redonda</a:t>
            </a:r>
            <a:br>
              <a:rPr lang="pt-BR" sz="2400" b="1" dirty="0"/>
            </a:br>
            <a:r>
              <a:rPr lang="pt-BR" sz="2400" b="1" dirty="0"/>
              <a:t>11h40 – 12h00: Q&amp;A</a:t>
            </a:r>
          </a:p>
        </p:txBody>
      </p:sp>
      <p:sp>
        <p:nvSpPr>
          <p:cNvPr id="7" name="Google Shape;97;p2">
            <a:extLst>
              <a:ext uri="{FF2B5EF4-FFF2-40B4-BE49-F238E27FC236}">
                <a16:creationId xmlns:a16="http://schemas.microsoft.com/office/drawing/2014/main" id="{E4EA893B-8DF1-4260-69CE-40B091D0D05B}"/>
              </a:ext>
            </a:extLst>
          </p:cNvPr>
          <p:cNvSpPr/>
          <p:nvPr/>
        </p:nvSpPr>
        <p:spPr>
          <a:xfrm rot="16200000">
            <a:off x="11896764" y="769828"/>
            <a:ext cx="2401841" cy="49911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" name="Imagem 35" descr="fig7">
            <a:extLst>
              <a:ext uri="{FF2B5EF4-FFF2-40B4-BE49-F238E27FC236}">
                <a16:creationId xmlns:a16="http://schemas.microsoft.com/office/drawing/2014/main" id="{C8B84496-F67C-D583-B82E-8A44A3BF0CBF}"/>
              </a:ext>
            </a:extLst>
          </p:cNvPr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1079" y="5149776"/>
            <a:ext cx="1947721" cy="154954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295753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p2"/>
          <p:cNvSpPr/>
          <p:nvPr/>
        </p:nvSpPr>
        <p:spPr>
          <a:xfrm>
            <a:off x="-4081" y="933450"/>
            <a:ext cx="3399000" cy="49911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" name="Google Shape;98;p2"/>
          <p:cNvSpPr txBox="1"/>
          <p:nvPr/>
        </p:nvSpPr>
        <p:spPr>
          <a:xfrm>
            <a:off x="201631" y="255606"/>
            <a:ext cx="29877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Arial"/>
              <a:buNone/>
            </a:pPr>
            <a:r>
              <a:rPr lang="pt-BR" sz="2400" b="1" i="0" u="none" strike="noStrike" cap="none">
                <a:solidFill>
                  <a:srgbClr val="212121"/>
                </a:solidFill>
                <a:latin typeface="Arial"/>
                <a:ea typeface="Arial"/>
                <a:cs typeface="Arial"/>
                <a:sym typeface="Arial"/>
              </a:rPr>
              <a:t>Linha do Tempo</a:t>
            </a:r>
            <a:endParaRPr/>
          </a:p>
        </p:txBody>
      </p:sp>
      <p:sp>
        <p:nvSpPr>
          <p:cNvPr id="99" name="Google Shape;99;p2"/>
          <p:cNvSpPr/>
          <p:nvPr/>
        </p:nvSpPr>
        <p:spPr>
          <a:xfrm>
            <a:off x="8668476" y="6337162"/>
            <a:ext cx="1311966" cy="35780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</a:pPr>
            <a:endParaRPr sz="32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0" name="Google Shape;100;p2" descr="Shape&#10;&#10;Description automatically generated with low confidence"/>
          <p:cNvPicPr preferRelativeResize="0"/>
          <p:nvPr/>
        </p:nvPicPr>
        <p:blipFill rotWithShape="1">
          <a:blip r:embed="rId3">
            <a:alphaModFix/>
          </a:blip>
          <a:srcRect b="8262"/>
          <a:stretch/>
        </p:blipFill>
        <p:spPr>
          <a:xfrm>
            <a:off x="11443306" y="6220980"/>
            <a:ext cx="457468" cy="419670"/>
          </a:xfrm>
          <a:prstGeom prst="rect">
            <a:avLst/>
          </a:prstGeom>
          <a:noFill/>
          <a:ln>
            <a:noFill/>
          </a:ln>
        </p:spPr>
      </p:pic>
      <p:sp>
        <p:nvSpPr>
          <p:cNvPr id="101" name="Google Shape;101;p2"/>
          <p:cNvSpPr txBox="1"/>
          <p:nvPr/>
        </p:nvSpPr>
        <p:spPr>
          <a:xfrm>
            <a:off x="-177129" y="4435523"/>
            <a:ext cx="3745197" cy="10772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r>
              <a:rPr lang="pt-BR" sz="16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Nome</a:t>
            </a:r>
            <a:endParaRPr/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r>
              <a:rPr lang="pt-BR" sz="16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Idade</a:t>
            </a:r>
            <a:endParaRPr/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r>
              <a:rPr lang="pt-BR" sz="16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Ingresso na universidade </a:t>
            </a:r>
            <a:br>
              <a:rPr lang="pt-BR" sz="16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6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Posição atual</a:t>
            </a:r>
            <a:endParaRPr/>
          </a:p>
        </p:txBody>
      </p:sp>
      <p:sp>
        <p:nvSpPr>
          <p:cNvPr id="102" name="Google Shape;102;p2"/>
          <p:cNvSpPr/>
          <p:nvPr/>
        </p:nvSpPr>
        <p:spPr>
          <a:xfrm>
            <a:off x="141387" y="1256884"/>
            <a:ext cx="2987686" cy="2977716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3" name="Google Shape;103;p2"/>
          <p:cNvSpPr/>
          <p:nvPr/>
        </p:nvSpPr>
        <p:spPr>
          <a:xfrm rot="5400000">
            <a:off x="7190653" y="894329"/>
            <a:ext cx="1095508" cy="556734"/>
          </a:xfrm>
          <a:prstGeom prst="rect">
            <a:avLst/>
          </a:prstGeom>
          <a:solidFill>
            <a:srgbClr val="70AD47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" name="Google Shape;104;p2"/>
          <p:cNvSpPr/>
          <p:nvPr/>
        </p:nvSpPr>
        <p:spPr>
          <a:xfrm rot="5400000">
            <a:off x="7190650" y="1989837"/>
            <a:ext cx="1095508" cy="556734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5" name="Google Shape;105;p2"/>
          <p:cNvSpPr/>
          <p:nvPr/>
        </p:nvSpPr>
        <p:spPr>
          <a:xfrm rot="5400000">
            <a:off x="7190647" y="3085345"/>
            <a:ext cx="1095507" cy="556734"/>
          </a:xfrm>
          <a:prstGeom prst="rect">
            <a:avLst/>
          </a:prstGeom>
          <a:solidFill>
            <a:srgbClr val="E78B0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6" name="Google Shape;106;p2"/>
          <p:cNvSpPr/>
          <p:nvPr/>
        </p:nvSpPr>
        <p:spPr>
          <a:xfrm rot="5400000">
            <a:off x="7190643" y="4180853"/>
            <a:ext cx="1095508" cy="556734"/>
          </a:xfrm>
          <a:prstGeom prst="rect">
            <a:avLst/>
          </a:prstGeom>
          <a:solidFill>
            <a:srgbClr val="A2AD8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7" name="Google Shape;107;p2"/>
          <p:cNvSpPr/>
          <p:nvPr/>
        </p:nvSpPr>
        <p:spPr>
          <a:xfrm rot="5400000">
            <a:off x="7190643" y="5276361"/>
            <a:ext cx="1095508" cy="556734"/>
          </a:xfrm>
          <a:prstGeom prst="rect">
            <a:avLst/>
          </a:prstGeom>
          <a:solidFill>
            <a:srgbClr val="756E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" name="Google Shape;108;p2"/>
          <p:cNvSpPr/>
          <p:nvPr/>
        </p:nvSpPr>
        <p:spPr>
          <a:xfrm>
            <a:off x="5366086" y="390419"/>
            <a:ext cx="1564554" cy="1564554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" name="Google Shape;109;p2"/>
          <p:cNvSpPr/>
          <p:nvPr/>
        </p:nvSpPr>
        <p:spPr>
          <a:xfrm>
            <a:off x="8544050" y="1475194"/>
            <a:ext cx="1564554" cy="1564554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0" name="Google Shape;110;p2"/>
          <p:cNvSpPr/>
          <p:nvPr/>
        </p:nvSpPr>
        <p:spPr>
          <a:xfrm>
            <a:off x="5376670" y="2581435"/>
            <a:ext cx="1564554" cy="1564554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1" name="Google Shape;111;p2"/>
          <p:cNvSpPr/>
          <p:nvPr/>
        </p:nvSpPr>
        <p:spPr>
          <a:xfrm>
            <a:off x="8548269" y="3694648"/>
            <a:ext cx="1564554" cy="1564554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2" name="Google Shape;112;p2"/>
          <p:cNvSpPr/>
          <p:nvPr/>
        </p:nvSpPr>
        <p:spPr>
          <a:xfrm>
            <a:off x="5393426" y="4772451"/>
            <a:ext cx="1564554" cy="1564554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" name="Google Shape;113;p2"/>
          <p:cNvSpPr/>
          <p:nvPr/>
        </p:nvSpPr>
        <p:spPr>
          <a:xfrm>
            <a:off x="8016763" y="2281486"/>
            <a:ext cx="540739" cy="75378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4" name="Google Shape;114;p2"/>
          <p:cNvSpPr/>
          <p:nvPr/>
        </p:nvSpPr>
        <p:spPr>
          <a:xfrm>
            <a:off x="6922736" y="1172696"/>
            <a:ext cx="540739" cy="75378"/>
          </a:xfrm>
          <a:prstGeom prst="rect">
            <a:avLst/>
          </a:prstGeom>
          <a:solidFill>
            <a:srgbClr val="70AD47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5" name="Google Shape;115;p2"/>
          <p:cNvSpPr/>
          <p:nvPr/>
        </p:nvSpPr>
        <p:spPr>
          <a:xfrm>
            <a:off x="8016763" y="4477947"/>
            <a:ext cx="540739" cy="75378"/>
          </a:xfrm>
          <a:prstGeom prst="rect">
            <a:avLst/>
          </a:prstGeom>
          <a:solidFill>
            <a:srgbClr val="FFD96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6" name="Google Shape;116;p2"/>
          <p:cNvSpPr/>
          <p:nvPr/>
        </p:nvSpPr>
        <p:spPr>
          <a:xfrm>
            <a:off x="6934489" y="3326805"/>
            <a:ext cx="540739" cy="75378"/>
          </a:xfrm>
          <a:prstGeom prst="rect">
            <a:avLst/>
          </a:prstGeom>
          <a:solidFill>
            <a:srgbClr val="E78B0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7" name="Google Shape;117;p2"/>
          <p:cNvSpPr/>
          <p:nvPr/>
        </p:nvSpPr>
        <p:spPr>
          <a:xfrm>
            <a:off x="6957980" y="5553409"/>
            <a:ext cx="540739" cy="75378"/>
          </a:xfrm>
          <a:prstGeom prst="rect">
            <a:avLst/>
          </a:prstGeom>
          <a:solidFill>
            <a:srgbClr val="323F4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" name="Google Shape;118;p2"/>
          <p:cNvSpPr/>
          <p:nvPr/>
        </p:nvSpPr>
        <p:spPr>
          <a:xfrm>
            <a:off x="7657434" y="1178710"/>
            <a:ext cx="161925" cy="161925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" name="Google Shape;119;p2"/>
          <p:cNvSpPr/>
          <p:nvPr/>
        </p:nvSpPr>
        <p:spPr>
          <a:xfrm>
            <a:off x="7657434" y="2229229"/>
            <a:ext cx="161925" cy="161925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0" name="Google Shape;120;p2"/>
          <p:cNvSpPr/>
          <p:nvPr/>
        </p:nvSpPr>
        <p:spPr>
          <a:xfrm>
            <a:off x="7649433" y="3243774"/>
            <a:ext cx="161925" cy="161925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1" name="Google Shape;121;p2"/>
          <p:cNvSpPr/>
          <p:nvPr/>
        </p:nvSpPr>
        <p:spPr>
          <a:xfrm>
            <a:off x="7649432" y="4456565"/>
            <a:ext cx="161925" cy="161925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2" name="Google Shape;122;p2"/>
          <p:cNvSpPr/>
          <p:nvPr/>
        </p:nvSpPr>
        <p:spPr>
          <a:xfrm>
            <a:off x="7649432" y="5512741"/>
            <a:ext cx="161925" cy="161925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" name="Google Shape;123;p2"/>
          <p:cNvSpPr txBox="1"/>
          <p:nvPr/>
        </p:nvSpPr>
        <p:spPr>
          <a:xfrm>
            <a:off x="3722398" y="917342"/>
            <a:ext cx="1957092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Calibri"/>
              <a:buNone/>
            </a:pPr>
            <a:r>
              <a:rPr lang="pt-BR" sz="1100" b="1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Inserir Texto</a:t>
            </a:r>
            <a:br>
              <a:rPr lang="pt-BR" sz="11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000" b="0" i="1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Text | Data</a:t>
            </a:r>
            <a:endParaRPr sz="11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4" name="Google Shape;124;p2"/>
          <p:cNvSpPr txBox="1"/>
          <p:nvPr/>
        </p:nvSpPr>
        <p:spPr>
          <a:xfrm>
            <a:off x="9812824" y="2013785"/>
            <a:ext cx="1957092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Calibri"/>
              <a:buNone/>
            </a:pPr>
            <a:r>
              <a:rPr lang="pt-BR" sz="1100" b="1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Inserir Texto</a:t>
            </a:r>
            <a:br>
              <a:rPr lang="pt-BR" sz="11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000" b="0" i="1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Text | Data</a:t>
            </a:r>
            <a:endParaRPr sz="11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5" name="Google Shape;125;p2"/>
          <p:cNvSpPr txBox="1"/>
          <p:nvPr/>
        </p:nvSpPr>
        <p:spPr>
          <a:xfrm>
            <a:off x="3790747" y="3148268"/>
            <a:ext cx="1957092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Calibri"/>
              <a:buNone/>
            </a:pPr>
            <a:r>
              <a:rPr lang="pt-BR" sz="1100" b="1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Inserir Texto</a:t>
            </a:r>
            <a:br>
              <a:rPr lang="pt-BR" sz="11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000" b="0" i="1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Text | Data</a:t>
            </a:r>
            <a:endParaRPr sz="11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" name="Google Shape;126;p2"/>
          <p:cNvSpPr txBox="1"/>
          <p:nvPr/>
        </p:nvSpPr>
        <p:spPr>
          <a:xfrm>
            <a:off x="9740482" y="4261481"/>
            <a:ext cx="1957092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Calibri"/>
              <a:buNone/>
            </a:pPr>
            <a:r>
              <a:rPr lang="pt-BR" sz="1100" b="1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Inserir Texto</a:t>
            </a:r>
            <a:br>
              <a:rPr lang="pt-BR" sz="11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000" b="0" i="1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Text | Data</a:t>
            </a:r>
            <a:endParaRPr sz="11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7" name="Google Shape;127;p2"/>
          <p:cNvSpPr txBox="1"/>
          <p:nvPr/>
        </p:nvSpPr>
        <p:spPr>
          <a:xfrm>
            <a:off x="3732766" y="5466792"/>
            <a:ext cx="1957092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Calibri"/>
              <a:buNone/>
            </a:pPr>
            <a:r>
              <a:rPr lang="pt-BR" sz="1100" b="1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Inserir Texto</a:t>
            </a:r>
            <a:br>
              <a:rPr lang="pt-BR" sz="11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000" b="0" i="1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Text | Data</a:t>
            </a:r>
            <a:endParaRPr sz="11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" name="Google Shape;128;p2"/>
          <p:cNvSpPr/>
          <p:nvPr/>
        </p:nvSpPr>
        <p:spPr>
          <a:xfrm>
            <a:off x="11900774" y="933450"/>
            <a:ext cx="291300" cy="49911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p2"/>
          <p:cNvSpPr/>
          <p:nvPr/>
        </p:nvSpPr>
        <p:spPr>
          <a:xfrm>
            <a:off x="-4081" y="933450"/>
            <a:ext cx="3399000" cy="49911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alibri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" name="Google Shape;98;p2"/>
          <p:cNvSpPr txBox="1"/>
          <p:nvPr/>
        </p:nvSpPr>
        <p:spPr>
          <a:xfrm>
            <a:off x="201631" y="255606"/>
            <a:ext cx="29877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Arial"/>
              <a:buNone/>
              <a:tabLst/>
              <a:defRPr/>
            </a:pPr>
            <a:r>
              <a:rPr kumimoji="0" lang="pt-BR" sz="2400" b="1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Linha do Tempo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100" name="Google Shape;100;p2" descr="Shape&#10;&#10;Description automatically generated with low confidence"/>
          <p:cNvPicPr preferRelativeResize="0"/>
          <p:nvPr/>
        </p:nvPicPr>
        <p:blipFill rotWithShape="1">
          <a:blip r:embed="rId3">
            <a:alphaModFix/>
          </a:blip>
          <a:srcRect b="8262"/>
          <a:stretch/>
        </p:blipFill>
        <p:spPr>
          <a:xfrm>
            <a:off x="11443306" y="6220980"/>
            <a:ext cx="457468" cy="419670"/>
          </a:xfrm>
          <a:prstGeom prst="rect">
            <a:avLst/>
          </a:prstGeom>
          <a:noFill/>
          <a:ln>
            <a:noFill/>
          </a:ln>
        </p:spPr>
      </p:pic>
      <p:sp>
        <p:nvSpPr>
          <p:cNvPr id="101" name="Google Shape;101;p2"/>
          <p:cNvSpPr txBox="1"/>
          <p:nvPr/>
        </p:nvSpPr>
        <p:spPr>
          <a:xfrm>
            <a:off x="0" y="4435523"/>
            <a:ext cx="3394920" cy="8309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  <a:tabLst/>
              <a:defRPr/>
            </a:pPr>
            <a:r>
              <a:rPr kumimoji="0" lang="pt-BR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Talita Aline Comunian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  <a:tabLst/>
              <a:defRPr/>
            </a:pPr>
            <a:r>
              <a:rPr kumimoji="0" lang="pt-BR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V Turma de Engenharia de Alimentos (2005-2010)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02" name="Google Shape;102;p2"/>
          <p:cNvSpPr/>
          <p:nvPr/>
        </p:nvSpPr>
        <p:spPr>
          <a:xfrm>
            <a:off x="141387" y="1256884"/>
            <a:ext cx="2987686" cy="2977716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alibri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3" name="Google Shape;103;p2"/>
          <p:cNvSpPr/>
          <p:nvPr/>
        </p:nvSpPr>
        <p:spPr>
          <a:xfrm rot="5400000">
            <a:off x="7190653" y="518549"/>
            <a:ext cx="1095508" cy="556734"/>
          </a:xfrm>
          <a:prstGeom prst="rect">
            <a:avLst/>
          </a:prstGeom>
          <a:solidFill>
            <a:srgbClr val="70AD47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alibri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" name="Google Shape;104;p2"/>
          <p:cNvSpPr/>
          <p:nvPr/>
        </p:nvSpPr>
        <p:spPr>
          <a:xfrm rot="5400000">
            <a:off x="7190650" y="1614057"/>
            <a:ext cx="1095508" cy="556734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alibri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5" name="Google Shape;105;p2"/>
          <p:cNvSpPr/>
          <p:nvPr/>
        </p:nvSpPr>
        <p:spPr>
          <a:xfrm rot="5400000">
            <a:off x="7190647" y="2709565"/>
            <a:ext cx="1095507" cy="556734"/>
          </a:xfrm>
          <a:prstGeom prst="rect">
            <a:avLst/>
          </a:prstGeom>
          <a:solidFill>
            <a:srgbClr val="E78B0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alibri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6" name="Google Shape;106;p2"/>
          <p:cNvSpPr/>
          <p:nvPr/>
        </p:nvSpPr>
        <p:spPr>
          <a:xfrm rot="5400000">
            <a:off x="7190643" y="3805073"/>
            <a:ext cx="1095508" cy="556734"/>
          </a:xfrm>
          <a:prstGeom prst="rect">
            <a:avLst/>
          </a:prstGeom>
          <a:solidFill>
            <a:srgbClr val="A2AD8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alibri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7" name="Google Shape;107;p2"/>
          <p:cNvSpPr/>
          <p:nvPr/>
        </p:nvSpPr>
        <p:spPr>
          <a:xfrm rot="5400000">
            <a:off x="7190643" y="4900581"/>
            <a:ext cx="1095508" cy="556734"/>
          </a:xfrm>
          <a:prstGeom prst="rect">
            <a:avLst/>
          </a:prstGeom>
          <a:solidFill>
            <a:srgbClr val="756E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alibri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" name="Google Shape;108;p2"/>
          <p:cNvSpPr/>
          <p:nvPr/>
        </p:nvSpPr>
        <p:spPr>
          <a:xfrm>
            <a:off x="5366086" y="14639"/>
            <a:ext cx="1564554" cy="1564554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alibri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" name="Google Shape;109;p2"/>
          <p:cNvSpPr/>
          <p:nvPr/>
        </p:nvSpPr>
        <p:spPr>
          <a:xfrm>
            <a:off x="8544050" y="1099414"/>
            <a:ext cx="1564554" cy="1564554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alibri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0" name="Google Shape;110;p2"/>
          <p:cNvSpPr/>
          <p:nvPr/>
        </p:nvSpPr>
        <p:spPr>
          <a:xfrm>
            <a:off x="5376670" y="2205655"/>
            <a:ext cx="1564554" cy="1564554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alibri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1" name="Google Shape;111;p2"/>
          <p:cNvSpPr/>
          <p:nvPr/>
        </p:nvSpPr>
        <p:spPr>
          <a:xfrm>
            <a:off x="8548269" y="3318868"/>
            <a:ext cx="1564554" cy="1564554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alibri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2" name="Google Shape;112;p2"/>
          <p:cNvSpPr/>
          <p:nvPr/>
        </p:nvSpPr>
        <p:spPr>
          <a:xfrm>
            <a:off x="5393426" y="4396671"/>
            <a:ext cx="1564554" cy="1564554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alibri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" name="Google Shape;113;p2"/>
          <p:cNvSpPr/>
          <p:nvPr/>
        </p:nvSpPr>
        <p:spPr>
          <a:xfrm>
            <a:off x="8016763" y="1905706"/>
            <a:ext cx="540739" cy="75378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alibri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4" name="Google Shape;114;p2"/>
          <p:cNvSpPr/>
          <p:nvPr/>
        </p:nvSpPr>
        <p:spPr>
          <a:xfrm>
            <a:off x="6922736" y="796916"/>
            <a:ext cx="540739" cy="75378"/>
          </a:xfrm>
          <a:prstGeom prst="rect">
            <a:avLst/>
          </a:prstGeom>
          <a:solidFill>
            <a:srgbClr val="70AD47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alibri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5" name="Google Shape;115;p2"/>
          <p:cNvSpPr/>
          <p:nvPr/>
        </p:nvSpPr>
        <p:spPr>
          <a:xfrm>
            <a:off x="8016763" y="4102167"/>
            <a:ext cx="540739" cy="75378"/>
          </a:xfrm>
          <a:prstGeom prst="rect">
            <a:avLst/>
          </a:prstGeom>
          <a:solidFill>
            <a:srgbClr val="FFD96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alibri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6" name="Google Shape;116;p2"/>
          <p:cNvSpPr/>
          <p:nvPr/>
        </p:nvSpPr>
        <p:spPr>
          <a:xfrm>
            <a:off x="6934489" y="2951025"/>
            <a:ext cx="540739" cy="75378"/>
          </a:xfrm>
          <a:prstGeom prst="rect">
            <a:avLst/>
          </a:prstGeom>
          <a:solidFill>
            <a:srgbClr val="E78B0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alibri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7" name="Google Shape;117;p2"/>
          <p:cNvSpPr/>
          <p:nvPr/>
        </p:nvSpPr>
        <p:spPr>
          <a:xfrm>
            <a:off x="6957980" y="5177629"/>
            <a:ext cx="540739" cy="75378"/>
          </a:xfrm>
          <a:prstGeom prst="rect">
            <a:avLst/>
          </a:prstGeom>
          <a:solidFill>
            <a:srgbClr val="323F4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alibri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" name="Google Shape;118;p2"/>
          <p:cNvSpPr/>
          <p:nvPr/>
        </p:nvSpPr>
        <p:spPr>
          <a:xfrm>
            <a:off x="7657434" y="802930"/>
            <a:ext cx="161925" cy="161925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alibri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" name="Google Shape;119;p2"/>
          <p:cNvSpPr/>
          <p:nvPr/>
        </p:nvSpPr>
        <p:spPr>
          <a:xfrm>
            <a:off x="7657434" y="1853449"/>
            <a:ext cx="161925" cy="161925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alibri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0" name="Google Shape;120;p2"/>
          <p:cNvSpPr/>
          <p:nvPr/>
        </p:nvSpPr>
        <p:spPr>
          <a:xfrm>
            <a:off x="7649433" y="2867994"/>
            <a:ext cx="161925" cy="161925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alibri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1" name="Google Shape;121;p2"/>
          <p:cNvSpPr/>
          <p:nvPr/>
        </p:nvSpPr>
        <p:spPr>
          <a:xfrm>
            <a:off x="7649432" y="4080785"/>
            <a:ext cx="161925" cy="161925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alibri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2" name="Google Shape;122;p2"/>
          <p:cNvSpPr/>
          <p:nvPr/>
        </p:nvSpPr>
        <p:spPr>
          <a:xfrm>
            <a:off x="7649432" y="5136961"/>
            <a:ext cx="161925" cy="161925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alibri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" name="Google Shape;123;p2"/>
          <p:cNvSpPr txBox="1"/>
          <p:nvPr/>
        </p:nvSpPr>
        <p:spPr>
          <a:xfrm>
            <a:off x="3704397" y="470338"/>
            <a:ext cx="1957092" cy="7386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Engenharia de Alimentos</a:t>
            </a:r>
            <a:b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</a:br>
            <a:r>
              <a:rPr kumimoji="0" lang="pt-BR" sz="14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2005-2010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124" name="Google Shape;124;p2"/>
          <p:cNvSpPr txBox="1"/>
          <p:nvPr/>
        </p:nvSpPr>
        <p:spPr>
          <a:xfrm>
            <a:off x="10038042" y="1296935"/>
            <a:ext cx="1957092" cy="11695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Calibri"/>
              <a:buNone/>
              <a:tabLst/>
              <a:defRPr/>
            </a:pP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Mestrado e Doutorado em Engenharia de Alimentos</a:t>
            </a:r>
            <a:b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</a:br>
            <a:r>
              <a:rPr kumimoji="0" lang="pt-BR" sz="14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2011-2013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Calibri"/>
              <a:buNone/>
              <a:tabLst/>
              <a:defRPr/>
            </a:pPr>
            <a:r>
              <a:rPr kumimoji="0" lang="pt-BR" sz="14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2014-2017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5" name="Google Shape;125;p2"/>
          <p:cNvSpPr txBox="1"/>
          <p:nvPr/>
        </p:nvSpPr>
        <p:spPr>
          <a:xfrm>
            <a:off x="3604072" y="2510518"/>
            <a:ext cx="1957092" cy="9540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Calibri"/>
              <a:buNone/>
              <a:tabLst/>
              <a:defRPr/>
            </a:pP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Pós-Doutorado em Engenharia de Alimentos</a:t>
            </a:r>
            <a:b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</a:br>
            <a:r>
              <a:rPr kumimoji="0" lang="pt-BR" sz="14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2018-2019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" name="Google Shape;126;p2"/>
          <p:cNvSpPr txBox="1"/>
          <p:nvPr/>
        </p:nvSpPr>
        <p:spPr>
          <a:xfrm>
            <a:off x="10066990" y="3467481"/>
            <a:ext cx="1628366" cy="11695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Marie </a:t>
            </a:r>
            <a:r>
              <a:rPr kumimoji="0" lang="pt-BR" sz="14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klodowska</a:t>
            </a: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-Curie/ </a:t>
            </a:r>
            <a:r>
              <a:rPr kumimoji="0" lang="pt-BR" sz="14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Research</a:t>
            </a: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kumimoji="0" lang="pt-BR" sz="14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Leaders</a:t>
            </a: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2025 </a:t>
            </a:r>
            <a:r>
              <a:rPr kumimoji="0" lang="pt-BR" sz="14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fellow</a:t>
            </a:r>
            <a:endParaRPr kumimoji="0" lang="pt-BR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2020-2021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128" name="Google Shape;128;p2"/>
          <p:cNvSpPr/>
          <p:nvPr/>
        </p:nvSpPr>
        <p:spPr>
          <a:xfrm>
            <a:off x="11900774" y="933450"/>
            <a:ext cx="291300" cy="49911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alibri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" name="Imagem 2" descr="Mulher sorrindo posando para foto&#10;&#10;Descrição gerada automaticamente">
            <a:extLst>
              <a:ext uri="{FF2B5EF4-FFF2-40B4-BE49-F238E27FC236}">
                <a16:creationId xmlns:a16="http://schemas.microsoft.com/office/drawing/2014/main" id="{F91C79AA-6A82-5B48-A32C-561D85EF97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025" y="1208058"/>
            <a:ext cx="3101396" cy="3096965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6" name="Imagem 35" descr="fig7">
            <a:extLst>
              <a:ext uri="{FF2B5EF4-FFF2-40B4-BE49-F238E27FC236}">
                <a16:creationId xmlns:a16="http://schemas.microsoft.com/office/drawing/2014/main" id="{F5F34507-AE69-464A-A4EA-77A613E602F4}"/>
              </a:ext>
            </a:extLst>
          </p:cNvPr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7118" y="164952"/>
            <a:ext cx="797763" cy="600524"/>
          </a:xfrm>
          <a:prstGeom prst="rect">
            <a:avLst/>
          </a:prstGeom>
          <a:noFill/>
          <a:ln>
            <a:noFill/>
          </a:ln>
        </p:spPr>
      </p:pic>
      <p:pic>
        <p:nvPicPr>
          <p:cNvPr id="37" name="Picture 3">
            <a:extLst>
              <a:ext uri="{FF2B5EF4-FFF2-40B4-BE49-F238E27FC236}">
                <a16:creationId xmlns:a16="http://schemas.microsoft.com/office/drawing/2014/main" id="{F44086C5-E29D-F540-A0D4-634BB5E88B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0450" y="853159"/>
            <a:ext cx="896993" cy="4154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8" name="Imagem 37" descr="fig7">
            <a:extLst>
              <a:ext uri="{FF2B5EF4-FFF2-40B4-BE49-F238E27FC236}">
                <a16:creationId xmlns:a16="http://schemas.microsoft.com/office/drawing/2014/main" id="{1B92077E-EB28-E94B-958E-286EFE7403A3}"/>
              </a:ext>
            </a:extLst>
          </p:cNvPr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00907" y="1235544"/>
            <a:ext cx="764008" cy="508778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Imagem 4" descr="Logotipo&#10;&#10;Descrição gerada automaticamente">
            <a:extLst>
              <a:ext uri="{FF2B5EF4-FFF2-40B4-BE49-F238E27FC236}">
                <a16:creationId xmlns:a16="http://schemas.microsoft.com/office/drawing/2014/main" id="{D764230B-2CED-304F-B003-D7996B67227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776735" y="1797538"/>
            <a:ext cx="608906" cy="589158"/>
          </a:xfrm>
          <a:prstGeom prst="rect">
            <a:avLst/>
          </a:prstGeom>
        </p:spPr>
      </p:pic>
      <p:pic>
        <p:nvPicPr>
          <p:cNvPr id="7" name="Imagem 6" descr="Logotipo&#10;&#10;Descrição gerada automaticamente">
            <a:extLst>
              <a:ext uri="{FF2B5EF4-FFF2-40B4-BE49-F238E27FC236}">
                <a16:creationId xmlns:a16="http://schemas.microsoft.com/office/drawing/2014/main" id="{BABF1E67-146A-6B4A-A9C2-DFC07ECF9F2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445971" y="1758865"/>
            <a:ext cx="543483" cy="494569"/>
          </a:xfrm>
          <a:prstGeom prst="rect">
            <a:avLst/>
          </a:prstGeom>
        </p:spPr>
      </p:pic>
      <p:pic>
        <p:nvPicPr>
          <p:cNvPr id="9" name="Imagem 8" descr="Ícone&#10;&#10;Descrição gerada automaticamente">
            <a:extLst>
              <a:ext uri="{FF2B5EF4-FFF2-40B4-BE49-F238E27FC236}">
                <a16:creationId xmlns:a16="http://schemas.microsoft.com/office/drawing/2014/main" id="{328F723F-3F1E-554B-82DC-CBA4A99685C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726270" y="2517921"/>
            <a:ext cx="878007" cy="939263"/>
          </a:xfrm>
          <a:prstGeom prst="rect">
            <a:avLst/>
          </a:prstGeom>
        </p:spPr>
      </p:pic>
      <p:sp>
        <p:nvSpPr>
          <p:cNvPr id="48" name="Google Shape;107;p2">
            <a:extLst>
              <a:ext uri="{FF2B5EF4-FFF2-40B4-BE49-F238E27FC236}">
                <a16:creationId xmlns:a16="http://schemas.microsoft.com/office/drawing/2014/main" id="{2F1E98AA-A7E5-CF40-8284-D8D8F90DF802}"/>
              </a:ext>
            </a:extLst>
          </p:cNvPr>
          <p:cNvSpPr/>
          <p:nvPr/>
        </p:nvSpPr>
        <p:spPr>
          <a:xfrm rot="5400000">
            <a:off x="7190643" y="5977238"/>
            <a:ext cx="1095508" cy="556734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alibri"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" name="Google Shape;122;p2">
            <a:extLst>
              <a:ext uri="{FF2B5EF4-FFF2-40B4-BE49-F238E27FC236}">
                <a16:creationId xmlns:a16="http://schemas.microsoft.com/office/drawing/2014/main" id="{72F94C12-6CAE-9A45-866D-F24500CDA4F0}"/>
              </a:ext>
            </a:extLst>
          </p:cNvPr>
          <p:cNvSpPr/>
          <p:nvPr/>
        </p:nvSpPr>
        <p:spPr>
          <a:xfrm>
            <a:off x="7649432" y="6238670"/>
            <a:ext cx="161925" cy="161925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alibri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" name="Google Shape;115;p2">
            <a:extLst>
              <a:ext uri="{FF2B5EF4-FFF2-40B4-BE49-F238E27FC236}">
                <a16:creationId xmlns:a16="http://schemas.microsoft.com/office/drawing/2014/main" id="{50BBE72E-C3AA-FD44-903F-1DAB97B2B21F}"/>
              </a:ext>
            </a:extLst>
          </p:cNvPr>
          <p:cNvSpPr/>
          <p:nvPr/>
        </p:nvSpPr>
        <p:spPr>
          <a:xfrm>
            <a:off x="8015837" y="6115186"/>
            <a:ext cx="540739" cy="7537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alibri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" name="Google Shape;111;p2">
            <a:extLst>
              <a:ext uri="{FF2B5EF4-FFF2-40B4-BE49-F238E27FC236}">
                <a16:creationId xmlns:a16="http://schemas.microsoft.com/office/drawing/2014/main" id="{2587C9D8-B831-2D49-ADD1-DAECD9F117EE}"/>
              </a:ext>
            </a:extLst>
          </p:cNvPr>
          <p:cNvSpPr/>
          <p:nvPr/>
        </p:nvSpPr>
        <p:spPr>
          <a:xfrm>
            <a:off x="8551683" y="5253007"/>
            <a:ext cx="1564554" cy="1564554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alibri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" name="Imagem 10" descr="Uma imagem contendo Ícone&#10;&#10;Descrição gerada automaticamente">
            <a:extLst>
              <a:ext uri="{FF2B5EF4-FFF2-40B4-BE49-F238E27FC236}">
                <a16:creationId xmlns:a16="http://schemas.microsoft.com/office/drawing/2014/main" id="{02B34FF5-8DBD-BB4A-BDC1-340CBF48890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harpenSoften amount="-50000"/>
                    </a14:imgEffect>
                    <a14:imgEffect>
                      <a14:brightnessContrast bright="20000" contrast="-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797059" y="3697134"/>
            <a:ext cx="1069741" cy="767301"/>
          </a:xfrm>
          <a:prstGeom prst="rect">
            <a:avLst/>
          </a:prstGeom>
        </p:spPr>
      </p:pic>
      <p:sp>
        <p:nvSpPr>
          <p:cNvPr id="54" name="Google Shape;126;p2">
            <a:extLst>
              <a:ext uri="{FF2B5EF4-FFF2-40B4-BE49-F238E27FC236}">
                <a16:creationId xmlns:a16="http://schemas.microsoft.com/office/drawing/2014/main" id="{BE92FD23-0C99-334B-A43F-B1C58BE22217}"/>
              </a:ext>
            </a:extLst>
          </p:cNvPr>
          <p:cNvSpPr txBox="1"/>
          <p:nvPr/>
        </p:nvSpPr>
        <p:spPr>
          <a:xfrm>
            <a:off x="3796966" y="4557191"/>
            <a:ext cx="1628366" cy="11695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Marie </a:t>
            </a:r>
            <a:r>
              <a:rPr kumimoji="0" lang="pt-BR" sz="14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klodowska</a:t>
            </a: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-Curie/ </a:t>
            </a:r>
            <a:r>
              <a:rPr kumimoji="0" lang="pt-BR" sz="14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Research</a:t>
            </a: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kumimoji="0" lang="pt-BR" sz="14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Leaders</a:t>
            </a: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2025 </a:t>
            </a:r>
            <a:r>
              <a:rPr kumimoji="0" lang="pt-BR" sz="14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fellow</a:t>
            </a:r>
            <a:endParaRPr kumimoji="0" lang="pt-BR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2021-2023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endParaRPr>
          </a:p>
        </p:txBody>
      </p:sp>
      <p:pic>
        <p:nvPicPr>
          <p:cNvPr id="13" name="Imagem 12" descr="Interface gráfica do usuário&#10;&#10;Descrição gerada automaticamente">
            <a:extLst>
              <a:ext uri="{FF2B5EF4-FFF2-40B4-BE49-F238E27FC236}">
                <a16:creationId xmlns:a16="http://schemas.microsoft.com/office/drawing/2014/main" id="{60444A48-CF48-E248-A08A-C3201E13820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518444" y="4859905"/>
            <a:ext cx="1301349" cy="585607"/>
          </a:xfrm>
          <a:prstGeom prst="rect">
            <a:avLst/>
          </a:prstGeom>
        </p:spPr>
      </p:pic>
      <p:sp>
        <p:nvSpPr>
          <p:cNvPr id="57" name="Google Shape;126;p2">
            <a:extLst>
              <a:ext uri="{FF2B5EF4-FFF2-40B4-BE49-F238E27FC236}">
                <a16:creationId xmlns:a16="http://schemas.microsoft.com/office/drawing/2014/main" id="{D015D07A-18AC-E644-9200-8DA93B750CF1}"/>
              </a:ext>
            </a:extLst>
          </p:cNvPr>
          <p:cNvSpPr txBox="1"/>
          <p:nvPr/>
        </p:nvSpPr>
        <p:spPr>
          <a:xfrm>
            <a:off x="10108604" y="5581009"/>
            <a:ext cx="1628366" cy="7386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In vitro </a:t>
            </a:r>
            <a:r>
              <a:rPr kumimoji="0" lang="pt-BR" sz="14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food</a:t>
            </a: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kumimoji="0" lang="pt-BR" sz="14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digestion</a:t>
            </a: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kumimoji="0" lang="pt-BR" sz="14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pecialist</a:t>
            </a:r>
            <a:endParaRPr kumimoji="0" lang="pt-BR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Junho 2023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endParaRPr>
          </a:p>
        </p:txBody>
      </p:sp>
      <p:pic>
        <p:nvPicPr>
          <p:cNvPr id="15" name="Imagem 14" descr="Logotipo&#10;&#10;Descrição gerada automaticamente com confiança baixa">
            <a:extLst>
              <a:ext uri="{FF2B5EF4-FFF2-40B4-BE49-F238E27FC236}">
                <a16:creationId xmlns:a16="http://schemas.microsoft.com/office/drawing/2014/main" id="{195C5E0F-43BA-854A-947A-182CA931897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689795" y="5740532"/>
            <a:ext cx="1312616" cy="504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3" grpId="0"/>
      <p:bldP spid="124" grpId="0"/>
      <p:bldP spid="125" grpId="0"/>
      <p:bldP spid="126" grpId="0"/>
      <p:bldP spid="54" grpId="0"/>
      <p:bldP spid="5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" name="Google Shape;321;g1e3008f50e7_1_105"/>
          <p:cNvSpPr/>
          <p:nvPr/>
        </p:nvSpPr>
        <p:spPr>
          <a:xfrm>
            <a:off x="-4081" y="933450"/>
            <a:ext cx="3399000" cy="49911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2" name="Google Shape;322;g1e3008f50e7_1_105"/>
          <p:cNvSpPr/>
          <p:nvPr/>
        </p:nvSpPr>
        <p:spPr>
          <a:xfrm>
            <a:off x="8668476" y="6337162"/>
            <a:ext cx="1311900" cy="3579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</a:pPr>
            <a:endParaRPr sz="32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23" name="Google Shape;323;g1e3008f50e7_1_105" descr="Shape&#10;&#10;Description automatically generated with low confidence"/>
          <p:cNvPicPr preferRelativeResize="0"/>
          <p:nvPr/>
        </p:nvPicPr>
        <p:blipFill rotWithShape="1">
          <a:blip r:embed="rId3">
            <a:alphaModFix/>
          </a:blip>
          <a:srcRect b="8265"/>
          <a:stretch/>
        </p:blipFill>
        <p:spPr>
          <a:xfrm>
            <a:off x="11443306" y="6220980"/>
            <a:ext cx="457468" cy="419670"/>
          </a:xfrm>
          <a:prstGeom prst="rect">
            <a:avLst/>
          </a:prstGeom>
          <a:noFill/>
          <a:ln>
            <a:noFill/>
          </a:ln>
        </p:spPr>
      </p:pic>
      <p:sp>
        <p:nvSpPr>
          <p:cNvPr id="324" name="Google Shape;324;g1e3008f50e7_1_105"/>
          <p:cNvSpPr txBox="1"/>
          <p:nvPr/>
        </p:nvSpPr>
        <p:spPr>
          <a:xfrm>
            <a:off x="-177129" y="4435523"/>
            <a:ext cx="3745200" cy="1077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r>
              <a:rPr lang="pt-BR" sz="1600">
                <a:latin typeface="Calibri"/>
                <a:ea typeface="Calibri"/>
                <a:cs typeface="Calibri"/>
                <a:sym typeface="Calibri"/>
              </a:rPr>
              <a:t>Matheus Zanatta | Netinho</a:t>
            </a:r>
            <a:endParaRPr/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r>
              <a:rPr lang="pt-BR" sz="1600">
                <a:latin typeface="Calibri"/>
                <a:ea typeface="Calibri"/>
                <a:cs typeface="Calibri"/>
                <a:sym typeface="Calibri"/>
              </a:rPr>
              <a:t>26 anos</a:t>
            </a:r>
            <a:endParaRPr/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r>
              <a:rPr lang="pt-BR" sz="1600">
                <a:latin typeface="Calibri"/>
                <a:ea typeface="Calibri"/>
                <a:cs typeface="Calibri"/>
                <a:sym typeface="Calibri"/>
              </a:rPr>
              <a:t>Turma XV</a:t>
            </a:r>
            <a:r>
              <a:rPr lang="pt-BR" sz="16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br>
              <a:rPr lang="pt-BR" sz="16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600">
                <a:latin typeface="Calibri"/>
                <a:ea typeface="Calibri"/>
                <a:cs typeface="Calibri"/>
                <a:sym typeface="Calibri"/>
              </a:rPr>
              <a:t>Especialista PMO</a:t>
            </a:r>
            <a:endParaRPr/>
          </a:p>
        </p:txBody>
      </p:sp>
      <p:sp>
        <p:nvSpPr>
          <p:cNvPr id="325" name="Google Shape;325;g1e3008f50e7_1_105"/>
          <p:cNvSpPr/>
          <p:nvPr/>
        </p:nvSpPr>
        <p:spPr>
          <a:xfrm>
            <a:off x="141387" y="1256884"/>
            <a:ext cx="2987700" cy="29778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6" name="Google Shape;326;g1e3008f50e7_1_105"/>
          <p:cNvSpPr/>
          <p:nvPr/>
        </p:nvSpPr>
        <p:spPr>
          <a:xfrm rot="5400000">
            <a:off x="7190574" y="894342"/>
            <a:ext cx="1095600" cy="556800"/>
          </a:xfrm>
          <a:prstGeom prst="rect">
            <a:avLst/>
          </a:prstGeom>
          <a:solidFill>
            <a:srgbClr val="70AD47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7" name="Google Shape;327;g1e3008f50e7_1_105"/>
          <p:cNvSpPr/>
          <p:nvPr/>
        </p:nvSpPr>
        <p:spPr>
          <a:xfrm rot="5400000">
            <a:off x="7190571" y="1989850"/>
            <a:ext cx="1095600" cy="5568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8" name="Google Shape;328;g1e3008f50e7_1_105"/>
          <p:cNvSpPr/>
          <p:nvPr/>
        </p:nvSpPr>
        <p:spPr>
          <a:xfrm rot="5400000">
            <a:off x="7190568" y="3085359"/>
            <a:ext cx="1095600" cy="556800"/>
          </a:xfrm>
          <a:prstGeom prst="rect">
            <a:avLst/>
          </a:prstGeom>
          <a:solidFill>
            <a:srgbClr val="E78B0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9" name="Google Shape;329;g1e3008f50e7_1_105"/>
          <p:cNvSpPr/>
          <p:nvPr/>
        </p:nvSpPr>
        <p:spPr>
          <a:xfrm rot="5400000">
            <a:off x="7190564" y="4180866"/>
            <a:ext cx="1095600" cy="556800"/>
          </a:xfrm>
          <a:prstGeom prst="rect">
            <a:avLst/>
          </a:prstGeom>
          <a:solidFill>
            <a:srgbClr val="A2AD8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0" name="Google Shape;330;g1e3008f50e7_1_105"/>
          <p:cNvSpPr/>
          <p:nvPr/>
        </p:nvSpPr>
        <p:spPr>
          <a:xfrm rot="5400000">
            <a:off x="7190564" y="5276374"/>
            <a:ext cx="1095600" cy="556800"/>
          </a:xfrm>
          <a:prstGeom prst="rect">
            <a:avLst/>
          </a:prstGeom>
          <a:solidFill>
            <a:srgbClr val="756E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1" name="Google Shape;331;g1e3008f50e7_1_105"/>
          <p:cNvSpPr/>
          <p:nvPr/>
        </p:nvSpPr>
        <p:spPr>
          <a:xfrm>
            <a:off x="5366086" y="390419"/>
            <a:ext cx="1564500" cy="15645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2" name="Google Shape;332;g1e3008f50e7_1_105"/>
          <p:cNvSpPr/>
          <p:nvPr/>
        </p:nvSpPr>
        <p:spPr>
          <a:xfrm>
            <a:off x="8544050" y="1475194"/>
            <a:ext cx="1564500" cy="15645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3" name="Google Shape;333;g1e3008f50e7_1_105"/>
          <p:cNvSpPr/>
          <p:nvPr/>
        </p:nvSpPr>
        <p:spPr>
          <a:xfrm>
            <a:off x="5376670" y="2581435"/>
            <a:ext cx="1564500" cy="15645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4" name="Google Shape;334;g1e3008f50e7_1_105"/>
          <p:cNvSpPr/>
          <p:nvPr/>
        </p:nvSpPr>
        <p:spPr>
          <a:xfrm>
            <a:off x="8548269" y="3694648"/>
            <a:ext cx="1564500" cy="15645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5" name="Google Shape;335;g1e3008f50e7_1_105"/>
          <p:cNvSpPr/>
          <p:nvPr/>
        </p:nvSpPr>
        <p:spPr>
          <a:xfrm>
            <a:off x="5393426" y="4772451"/>
            <a:ext cx="1564500" cy="15645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6" name="Google Shape;336;g1e3008f50e7_1_105"/>
          <p:cNvSpPr/>
          <p:nvPr/>
        </p:nvSpPr>
        <p:spPr>
          <a:xfrm>
            <a:off x="8016763" y="2281486"/>
            <a:ext cx="540600" cy="753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7" name="Google Shape;337;g1e3008f50e7_1_105"/>
          <p:cNvSpPr/>
          <p:nvPr/>
        </p:nvSpPr>
        <p:spPr>
          <a:xfrm>
            <a:off x="6922736" y="1172696"/>
            <a:ext cx="540600" cy="75300"/>
          </a:xfrm>
          <a:prstGeom prst="rect">
            <a:avLst/>
          </a:prstGeom>
          <a:solidFill>
            <a:srgbClr val="70AD47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8" name="Google Shape;338;g1e3008f50e7_1_105"/>
          <p:cNvSpPr/>
          <p:nvPr/>
        </p:nvSpPr>
        <p:spPr>
          <a:xfrm>
            <a:off x="8016763" y="4477947"/>
            <a:ext cx="540600" cy="75300"/>
          </a:xfrm>
          <a:prstGeom prst="rect">
            <a:avLst/>
          </a:prstGeom>
          <a:solidFill>
            <a:srgbClr val="FFD96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9" name="Google Shape;339;g1e3008f50e7_1_105"/>
          <p:cNvSpPr/>
          <p:nvPr/>
        </p:nvSpPr>
        <p:spPr>
          <a:xfrm>
            <a:off x="6934489" y="3326805"/>
            <a:ext cx="540600" cy="75300"/>
          </a:xfrm>
          <a:prstGeom prst="rect">
            <a:avLst/>
          </a:prstGeom>
          <a:solidFill>
            <a:srgbClr val="E78B0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0" name="Google Shape;340;g1e3008f50e7_1_105"/>
          <p:cNvSpPr/>
          <p:nvPr/>
        </p:nvSpPr>
        <p:spPr>
          <a:xfrm>
            <a:off x="6957980" y="5553409"/>
            <a:ext cx="540600" cy="75300"/>
          </a:xfrm>
          <a:prstGeom prst="rect">
            <a:avLst/>
          </a:prstGeom>
          <a:solidFill>
            <a:srgbClr val="323F4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1" name="Google Shape;341;g1e3008f50e7_1_105"/>
          <p:cNvSpPr/>
          <p:nvPr/>
        </p:nvSpPr>
        <p:spPr>
          <a:xfrm>
            <a:off x="7657434" y="1178710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2" name="Google Shape;342;g1e3008f50e7_1_105"/>
          <p:cNvSpPr/>
          <p:nvPr/>
        </p:nvSpPr>
        <p:spPr>
          <a:xfrm>
            <a:off x="7657434" y="2229229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3" name="Google Shape;343;g1e3008f50e7_1_105"/>
          <p:cNvSpPr/>
          <p:nvPr/>
        </p:nvSpPr>
        <p:spPr>
          <a:xfrm>
            <a:off x="7649433" y="3243774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4" name="Google Shape;344;g1e3008f50e7_1_105"/>
          <p:cNvSpPr/>
          <p:nvPr/>
        </p:nvSpPr>
        <p:spPr>
          <a:xfrm>
            <a:off x="7649432" y="4456565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5" name="Google Shape;345;g1e3008f50e7_1_105"/>
          <p:cNvSpPr/>
          <p:nvPr/>
        </p:nvSpPr>
        <p:spPr>
          <a:xfrm>
            <a:off x="7649432" y="5512741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6" name="Google Shape;346;g1e3008f50e7_1_105"/>
          <p:cNvSpPr txBox="1"/>
          <p:nvPr/>
        </p:nvSpPr>
        <p:spPr>
          <a:xfrm>
            <a:off x="3722398" y="917342"/>
            <a:ext cx="1957200" cy="4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Calibri"/>
              <a:buNone/>
            </a:pPr>
            <a:r>
              <a:rPr lang="pt-BR" sz="1100" b="1">
                <a:latin typeface="Calibri"/>
                <a:ea typeface="Calibri"/>
                <a:cs typeface="Calibri"/>
                <a:sym typeface="Calibri"/>
              </a:rPr>
              <a:t>Ingresso USP</a:t>
            </a:r>
            <a:br>
              <a:rPr lang="pt-BR" sz="11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000" i="1">
                <a:latin typeface="Calibri"/>
                <a:ea typeface="Calibri"/>
                <a:cs typeface="Calibri"/>
                <a:sym typeface="Calibri"/>
              </a:rPr>
              <a:t>2015</a:t>
            </a:r>
            <a:endParaRPr sz="11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7" name="Google Shape;347;g1e3008f50e7_1_105"/>
          <p:cNvSpPr txBox="1"/>
          <p:nvPr/>
        </p:nvSpPr>
        <p:spPr>
          <a:xfrm>
            <a:off x="9812824" y="2013785"/>
            <a:ext cx="1957200" cy="4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Calibri"/>
              <a:buNone/>
            </a:pPr>
            <a:r>
              <a:rPr lang="pt-BR" sz="1100" b="1">
                <a:latin typeface="Calibri"/>
                <a:ea typeface="Calibri"/>
                <a:cs typeface="Calibri"/>
                <a:sym typeface="Calibri"/>
              </a:rPr>
              <a:t>Ingresso AIESEC</a:t>
            </a:r>
            <a:br>
              <a:rPr lang="pt-BR" sz="11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000" i="1">
                <a:latin typeface="Calibri"/>
                <a:ea typeface="Calibri"/>
                <a:cs typeface="Calibri"/>
                <a:sym typeface="Calibri"/>
              </a:rPr>
              <a:t>2016</a:t>
            </a:r>
            <a:endParaRPr sz="11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8" name="Google Shape;348;g1e3008f50e7_1_105"/>
          <p:cNvSpPr txBox="1"/>
          <p:nvPr/>
        </p:nvSpPr>
        <p:spPr>
          <a:xfrm>
            <a:off x="3274272" y="3148268"/>
            <a:ext cx="1957200" cy="4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Calibri"/>
              <a:buNone/>
            </a:pPr>
            <a:r>
              <a:rPr lang="pt-BR" sz="1100" b="1">
                <a:latin typeface="Calibri"/>
                <a:ea typeface="Calibri"/>
                <a:cs typeface="Calibri"/>
                <a:sym typeface="Calibri"/>
              </a:rPr>
              <a:t>Intercâmbio León-MEX</a:t>
            </a:r>
            <a:br>
              <a:rPr lang="pt-BR" sz="11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000" i="1">
                <a:latin typeface="Calibri"/>
                <a:ea typeface="Calibri"/>
                <a:cs typeface="Calibri"/>
                <a:sym typeface="Calibri"/>
              </a:rPr>
              <a:t>AIESEC </a:t>
            </a:r>
            <a:r>
              <a:rPr lang="pt-BR" sz="1000" b="0" i="1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|</a:t>
            </a:r>
            <a:r>
              <a:rPr lang="pt-BR" sz="1000" i="1">
                <a:latin typeface="Calibri"/>
                <a:ea typeface="Calibri"/>
                <a:cs typeface="Calibri"/>
                <a:sym typeface="Calibri"/>
              </a:rPr>
              <a:t> 16/17</a:t>
            </a:r>
            <a:endParaRPr sz="11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9" name="Google Shape;349;g1e3008f50e7_1_105"/>
          <p:cNvSpPr txBox="1"/>
          <p:nvPr/>
        </p:nvSpPr>
        <p:spPr>
          <a:xfrm>
            <a:off x="9816682" y="4261481"/>
            <a:ext cx="1957200" cy="4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Calibri"/>
              <a:buNone/>
            </a:pPr>
            <a:r>
              <a:rPr lang="pt-BR" sz="1100" b="1">
                <a:latin typeface="Calibri"/>
                <a:ea typeface="Calibri"/>
                <a:cs typeface="Calibri"/>
                <a:sym typeface="Calibri"/>
              </a:rPr>
              <a:t>Ingresso Enactus</a:t>
            </a:r>
            <a:endParaRPr sz="1100"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Calibri"/>
              <a:buNone/>
            </a:pPr>
            <a:r>
              <a:rPr lang="pt-BR" sz="1000" i="1">
                <a:latin typeface="Calibri"/>
                <a:ea typeface="Calibri"/>
                <a:cs typeface="Calibri"/>
                <a:sym typeface="Calibri"/>
              </a:rPr>
              <a:t>2017</a:t>
            </a:r>
            <a:endParaRPr sz="11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0" name="Google Shape;350;g1e3008f50e7_1_105"/>
          <p:cNvSpPr txBox="1"/>
          <p:nvPr/>
        </p:nvSpPr>
        <p:spPr>
          <a:xfrm>
            <a:off x="3427966" y="5466792"/>
            <a:ext cx="1957200" cy="4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Calibri"/>
              <a:buNone/>
            </a:pPr>
            <a:r>
              <a:rPr lang="pt-BR" sz="1100" b="1">
                <a:latin typeface="Calibri"/>
                <a:ea typeface="Calibri"/>
                <a:cs typeface="Calibri"/>
                <a:sym typeface="Calibri"/>
              </a:rPr>
              <a:t>Iniciações Científicas</a:t>
            </a:r>
            <a:br>
              <a:rPr lang="pt-BR" sz="11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000" i="1">
                <a:latin typeface="Calibri"/>
                <a:ea typeface="Calibri"/>
                <a:cs typeface="Calibri"/>
                <a:sym typeface="Calibri"/>
              </a:rPr>
              <a:t>2017, 2018 e 2019</a:t>
            </a:r>
            <a:endParaRPr sz="11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1" name="Google Shape;351;g1e3008f50e7_1_105"/>
          <p:cNvSpPr/>
          <p:nvPr/>
        </p:nvSpPr>
        <p:spPr>
          <a:xfrm>
            <a:off x="11900774" y="933450"/>
            <a:ext cx="291300" cy="49911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52" name="Google Shape;352;g1e3008f50e7_1_105"/>
          <p:cNvPicPr preferRelativeResize="0"/>
          <p:nvPr/>
        </p:nvPicPr>
        <p:blipFill rotWithShape="1">
          <a:blip r:embed="rId4">
            <a:alphaModFix/>
          </a:blip>
          <a:srcRect l="34236" r="5435"/>
          <a:stretch/>
        </p:blipFill>
        <p:spPr>
          <a:xfrm>
            <a:off x="5117412" y="2384338"/>
            <a:ext cx="1957200" cy="1958700"/>
          </a:xfrm>
          <a:prstGeom prst="ellipse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353" name="Google Shape;353;g1e3008f50e7_1_105"/>
          <p:cNvPicPr preferRelativeResize="0"/>
          <p:nvPr/>
        </p:nvPicPr>
        <p:blipFill rotWithShape="1">
          <a:blip r:embed="rId5">
            <a:alphaModFix/>
          </a:blip>
          <a:srcRect l="13563" t="8476" r="14442" b="21352"/>
          <a:stretch/>
        </p:blipFill>
        <p:spPr>
          <a:xfrm>
            <a:off x="5073012" y="337200"/>
            <a:ext cx="2046000" cy="1845000"/>
          </a:xfrm>
          <a:prstGeom prst="ellipse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354" name="Google Shape;354;g1e3008f50e7_1_105"/>
          <p:cNvPicPr preferRelativeResize="0"/>
          <p:nvPr/>
        </p:nvPicPr>
        <p:blipFill rotWithShape="1">
          <a:blip r:embed="rId6">
            <a:alphaModFix/>
          </a:blip>
          <a:srcRect r="21654"/>
          <a:stretch/>
        </p:blipFill>
        <p:spPr>
          <a:xfrm>
            <a:off x="5158362" y="4661527"/>
            <a:ext cx="1875300" cy="1795200"/>
          </a:xfrm>
          <a:prstGeom prst="ellipse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355" name="Google Shape;355;g1e3008f50e7_1_105"/>
          <p:cNvPicPr preferRelativeResize="0"/>
          <p:nvPr/>
        </p:nvPicPr>
        <p:blipFill rotWithShape="1">
          <a:blip r:embed="rId7">
            <a:alphaModFix/>
          </a:blip>
          <a:srcRect l="13840" r="13847"/>
          <a:stretch/>
        </p:blipFill>
        <p:spPr>
          <a:xfrm>
            <a:off x="8175725" y="1207150"/>
            <a:ext cx="2046000" cy="2122200"/>
          </a:xfrm>
          <a:prstGeom prst="ellipse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356" name="Google Shape;356;g1e3008f50e7_1_105"/>
          <p:cNvPicPr preferRelativeResize="0"/>
          <p:nvPr/>
        </p:nvPicPr>
        <p:blipFill rotWithShape="1">
          <a:blip r:embed="rId8">
            <a:alphaModFix/>
          </a:blip>
          <a:srcRect l="19598" t="14594" r="19592" b="24597"/>
          <a:stretch/>
        </p:blipFill>
        <p:spPr>
          <a:xfrm>
            <a:off x="8220125" y="3576823"/>
            <a:ext cx="1957200" cy="1921500"/>
          </a:xfrm>
          <a:prstGeom prst="ellipse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357" name="Google Shape;357;g1e3008f50e7_1_105"/>
          <p:cNvPicPr preferRelativeResize="0"/>
          <p:nvPr/>
        </p:nvPicPr>
        <p:blipFill rotWithShape="1">
          <a:blip r:embed="rId9">
            <a:alphaModFix/>
          </a:blip>
          <a:srcRect l="17345" r="21834"/>
          <a:stretch/>
        </p:blipFill>
        <p:spPr>
          <a:xfrm>
            <a:off x="130925" y="1109425"/>
            <a:ext cx="3129000" cy="3272700"/>
          </a:xfrm>
          <a:prstGeom prst="ellipse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2" name="Google Shape;362;g1e3008f50e7_1_145"/>
          <p:cNvSpPr/>
          <p:nvPr/>
        </p:nvSpPr>
        <p:spPr>
          <a:xfrm>
            <a:off x="-4081" y="933450"/>
            <a:ext cx="3399000" cy="49911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3" name="Google Shape;363;g1e3008f50e7_1_145"/>
          <p:cNvSpPr/>
          <p:nvPr/>
        </p:nvSpPr>
        <p:spPr>
          <a:xfrm>
            <a:off x="8668476" y="6337162"/>
            <a:ext cx="1311900" cy="3579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</a:pPr>
            <a:endParaRPr sz="32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64" name="Google Shape;364;g1e3008f50e7_1_145" descr="Shape&#10;&#10;Description automatically generated with low confidence"/>
          <p:cNvPicPr preferRelativeResize="0"/>
          <p:nvPr/>
        </p:nvPicPr>
        <p:blipFill rotWithShape="1">
          <a:blip r:embed="rId3">
            <a:alphaModFix/>
          </a:blip>
          <a:srcRect b="8265"/>
          <a:stretch/>
        </p:blipFill>
        <p:spPr>
          <a:xfrm>
            <a:off x="11443306" y="6220980"/>
            <a:ext cx="457468" cy="419670"/>
          </a:xfrm>
          <a:prstGeom prst="rect">
            <a:avLst/>
          </a:prstGeom>
          <a:noFill/>
          <a:ln>
            <a:noFill/>
          </a:ln>
        </p:spPr>
      </p:pic>
      <p:sp>
        <p:nvSpPr>
          <p:cNvPr id="365" name="Google Shape;365;g1e3008f50e7_1_145"/>
          <p:cNvSpPr txBox="1"/>
          <p:nvPr/>
        </p:nvSpPr>
        <p:spPr>
          <a:xfrm>
            <a:off x="-177129" y="4435523"/>
            <a:ext cx="3745200" cy="1077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r>
              <a:rPr lang="pt-BR" sz="1600">
                <a:latin typeface="Calibri"/>
                <a:ea typeface="Calibri"/>
                <a:cs typeface="Calibri"/>
                <a:sym typeface="Calibri"/>
              </a:rPr>
              <a:t>Matheus Zanatta | Netinho</a:t>
            </a:r>
            <a:endParaRPr/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r>
              <a:rPr lang="pt-BR" sz="1600">
                <a:latin typeface="Calibri"/>
                <a:ea typeface="Calibri"/>
                <a:cs typeface="Calibri"/>
                <a:sym typeface="Calibri"/>
              </a:rPr>
              <a:t>26 anos</a:t>
            </a:r>
            <a:endParaRPr/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r>
              <a:rPr lang="pt-BR" sz="1600">
                <a:latin typeface="Calibri"/>
                <a:ea typeface="Calibri"/>
                <a:cs typeface="Calibri"/>
                <a:sym typeface="Calibri"/>
              </a:rPr>
              <a:t>Turma XV</a:t>
            </a:r>
            <a:r>
              <a:rPr lang="pt-BR" sz="16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br>
              <a:rPr lang="pt-BR" sz="16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600">
                <a:latin typeface="Calibri"/>
                <a:ea typeface="Calibri"/>
                <a:cs typeface="Calibri"/>
                <a:sym typeface="Calibri"/>
              </a:rPr>
              <a:t>Especialista PMO</a:t>
            </a:r>
            <a:endParaRPr/>
          </a:p>
        </p:txBody>
      </p:sp>
      <p:sp>
        <p:nvSpPr>
          <p:cNvPr id="366" name="Google Shape;366;g1e3008f50e7_1_145"/>
          <p:cNvSpPr/>
          <p:nvPr/>
        </p:nvSpPr>
        <p:spPr>
          <a:xfrm>
            <a:off x="141387" y="1256884"/>
            <a:ext cx="2987700" cy="29778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7" name="Google Shape;367;g1e3008f50e7_1_145"/>
          <p:cNvSpPr/>
          <p:nvPr/>
        </p:nvSpPr>
        <p:spPr>
          <a:xfrm rot="5400000">
            <a:off x="7190574" y="894342"/>
            <a:ext cx="1095600" cy="556800"/>
          </a:xfrm>
          <a:prstGeom prst="rect">
            <a:avLst/>
          </a:prstGeom>
          <a:solidFill>
            <a:srgbClr val="70AD47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8" name="Google Shape;368;g1e3008f50e7_1_145"/>
          <p:cNvSpPr/>
          <p:nvPr/>
        </p:nvSpPr>
        <p:spPr>
          <a:xfrm rot="5400000">
            <a:off x="7190571" y="1989850"/>
            <a:ext cx="1095600" cy="5568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9" name="Google Shape;369;g1e3008f50e7_1_145"/>
          <p:cNvSpPr/>
          <p:nvPr/>
        </p:nvSpPr>
        <p:spPr>
          <a:xfrm rot="5400000">
            <a:off x="7190568" y="3085359"/>
            <a:ext cx="1095600" cy="556800"/>
          </a:xfrm>
          <a:prstGeom prst="rect">
            <a:avLst/>
          </a:prstGeom>
          <a:solidFill>
            <a:srgbClr val="E78B0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0" name="Google Shape;370;g1e3008f50e7_1_145"/>
          <p:cNvSpPr/>
          <p:nvPr/>
        </p:nvSpPr>
        <p:spPr>
          <a:xfrm rot="5400000">
            <a:off x="7190564" y="4180866"/>
            <a:ext cx="1095600" cy="556800"/>
          </a:xfrm>
          <a:prstGeom prst="rect">
            <a:avLst/>
          </a:prstGeom>
          <a:solidFill>
            <a:srgbClr val="A2AD8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1" name="Google Shape;371;g1e3008f50e7_1_145"/>
          <p:cNvSpPr/>
          <p:nvPr/>
        </p:nvSpPr>
        <p:spPr>
          <a:xfrm rot="5400000">
            <a:off x="7190564" y="5276374"/>
            <a:ext cx="1095600" cy="556800"/>
          </a:xfrm>
          <a:prstGeom prst="rect">
            <a:avLst/>
          </a:prstGeom>
          <a:solidFill>
            <a:srgbClr val="756E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2" name="Google Shape;372;g1e3008f50e7_1_145"/>
          <p:cNvSpPr/>
          <p:nvPr/>
        </p:nvSpPr>
        <p:spPr>
          <a:xfrm>
            <a:off x="5366086" y="390419"/>
            <a:ext cx="1564500" cy="15645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3" name="Google Shape;373;g1e3008f50e7_1_145"/>
          <p:cNvSpPr/>
          <p:nvPr/>
        </p:nvSpPr>
        <p:spPr>
          <a:xfrm>
            <a:off x="8544050" y="1475194"/>
            <a:ext cx="1564500" cy="15645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4" name="Google Shape;374;g1e3008f50e7_1_145"/>
          <p:cNvSpPr/>
          <p:nvPr/>
        </p:nvSpPr>
        <p:spPr>
          <a:xfrm>
            <a:off x="5376670" y="2581435"/>
            <a:ext cx="1564500" cy="15645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5" name="Google Shape;375;g1e3008f50e7_1_145"/>
          <p:cNvSpPr/>
          <p:nvPr/>
        </p:nvSpPr>
        <p:spPr>
          <a:xfrm>
            <a:off x="8548269" y="3694648"/>
            <a:ext cx="1564500" cy="15645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6" name="Google Shape;376;g1e3008f50e7_1_145"/>
          <p:cNvSpPr/>
          <p:nvPr/>
        </p:nvSpPr>
        <p:spPr>
          <a:xfrm>
            <a:off x="5393426" y="4772451"/>
            <a:ext cx="1564500" cy="15645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7" name="Google Shape;377;g1e3008f50e7_1_145"/>
          <p:cNvSpPr/>
          <p:nvPr/>
        </p:nvSpPr>
        <p:spPr>
          <a:xfrm>
            <a:off x="8016763" y="2281486"/>
            <a:ext cx="540600" cy="753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8" name="Google Shape;378;g1e3008f50e7_1_145"/>
          <p:cNvSpPr/>
          <p:nvPr/>
        </p:nvSpPr>
        <p:spPr>
          <a:xfrm>
            <a:off x="6922736" y="1172696"/>
            <a:ext cx="540600" cy="75300"/>
          </a:xfrm>
          <a:prstGeom prst="rect">
            <a:avLst/>
          </a:prstGeom>
          <a:solidFill>
            <a:srgbClr val="70AD47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9" name="Google Shape;379;g1e3008f50e7_1_145"/>
          <p:cNvSpPr/>
          <p:nvPr/>
        </p:nvSpPr>
        <p:spPr>
          <a:xfrm>
            <a:off x="8016763" y="4477947"/>
            <a:ext cx="540600" cy="75300"/>
          </a:xfrm>
          <a:prstGeom prst="rect">
            <a:avLst/>
          </a:prstGeom>
          <a:solidFill>
            <a:srgbClr val="FFD96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0" name="Google Shape;380;g1e3008f50e7_1_145"/>
          <p:cNvSpPr/>
          <p:nvPr/>
        </p:nvSpPr>
        <p:spPr>
          <a:xfrm>
            <a:off x="6934489" y="3326805"/>
            <a:ext cx="540600" cy="75300"/>
          </a:xfrm>
          <a:prstGeom prst="rect">
            <a:avLst/>
          </a:prstGeom>
          <a:solidFill>
            <a:srgbClr val="E78B0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1" name="Google Shape;381;g1e3008f50e7_1_145"/>
          <p:cNvSpPr/>
          <p:nvPr/>
        </p:nvSpPr>
        <p:spPr>
          <a:xfrm>
            <a:off x="6957980" y="5553409"/>
            <a:ext cx="540600" cy="75300"/>
          </a:xfrm>
          <a:prstGeom prst="rect">
            <a:avLst/>
          </a:prstGeom>
          <a:solidFill>
            <a:srgbClr val="323F4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2" name="Google Shape;382;g1e3008f50e7_1_145"/>
          <p:cNvSpPr/>
          <p:nvPr/>
        </p:nvSpPr>
        <p:spPr>
          <a:xfrm>
            <a:off x="7657434" y="1178710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3" name="Google Shape;383;g1e3008f50e7_1_145"/>
          <p:cNvSpPr/>
          <p:nvPr/>
        </p:nvSpPr>
        <p:spPr>
          <a:xfrm>
            <a:off x="7657434" y="2229229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4" name="Google Shape;384;g1e3008f50e7_1_145"/>
          <p:cNvSpPr/>
          <p:nvPr/>
        </p:nvSpPr>
        <p:spPr>
          <a:xfrm>
            <a:off x="7649433" y="3243774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5" name="Google Shape;385;g1e3008f50e7_1_145"/>
          <p:cNvSpPr/>
          <p:nvPr/>
        </p:nvSpPr>
        <p:spPr>
          <a:xfrm>
            <a:off x="7649432" y="4456565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6" name="Google Shape;386;g1e3008f50e7_1_145"/>
          <p:cNvSpPr/>
          <p:nvPr/>
        </p:nvSpPr>
        <p:spPr>
          <a:xfrm>
            <a:off x="7649432" y="5512741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7" name="Google Shape;387;g1e3008f50e7_1_145"/>
          <p:cNvSpPr txBox="1"/>
          <p:nvPr/>
        </p:nvSpPr>
        <p:spPr>
          <a:xfrm>
            <a:off x="3268973" y="999242"/>
            <a:ext cx="1957200" cy="4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Calibri"/>
              <a:buNone/>
            </a:pPr>
            <a:r>
              <a:rPr lang="pt-BR" sz="1100" b="1">
                <a:latin typeface="Calibri"/>
                <a:ea typeface="Calibri"/>
                <a:cs typeface="Calibri"/>
                <a:sym typeface="Calibri"/>
              </a:rPr>
              <a:t>Ingresso República Mukifu</a:t>
            </a:r>
            <a:br>
              <a:rPr lang="pt-BR" sz="11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000" i="1">
                <a:latin typeface="Calibri"/>
                <a:ea typeface="Calibri"/>
                <a:cs typeface="Calibri"/>
                <a:sym typeface="Calibri"/>
              </a:rPr>
              <a:t>2018</a:t>
            </a:r>
            <a:endParaRPr sz="11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8" name="Google Shape;388;g1e3008f50e7_1_145"/>
          <p:cNvSpPr txBox="1"/>
          <p:nvPr/>
        </p:nvSpPr>
        <p:spPr>
          <a:xfrm>
            <a:off x="10048274" y="2017735"/>
            <a:ext cx="1957200" cy="56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</a:pPr>
            <a:r>
              <a:rPr lang="pt-BR" sz="11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tercâmbio Disney</a:t>
            </a:r>
            <a:br>
              <a:rPr lang="pt-BR" sz="11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000" i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ternational College Program </a:t>
            </a:r>
            <a:endParaRPr sz="1000" i="1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</a:pPr>
            <a:r>
              <a:rPr lang="pt-BR" sz="1000" i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9/20</a:t>
            </a:r>
            <a:endParaRPr sz="110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9" name="Google Shape;389;g1e3008f50e7_1_145"/>
          <p:cNvSpPr txBox="1"/>
          <p:nvPr/>
        </p:nvSpPr>
        <p:spPr>
          <a:xfrm>
            <a:off x="3407197" y="3148268"/>
            <a:ext cx="1957200" cy="58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</a:pPr>
            <a:r>
              <a:rPr lang="pt-BR" sz="11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lumni Mentor | Enactus Brasil </a:t>
            </a:r>
            <a:br>
              <a:rPr lang="pt-BR" sz="11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000" i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9/20</a:t>
            </a:r>
            <a:endParaRPr sz="1000" i="1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0" name="Google Shape;390;g1e3008f50e7_1_145"/>
          <p:cNvSpPr txBox="1"/>
          <p:nvPr/>
        </p:nvSpPr>
        <p:spPr>
          <a:xfrm>
            <a:off x="9816682" y="4261481"/>
            <a:ext cx="1957200" cy="4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</a:pPr>
            <a:r>
              <a:rPr lang="pt-BR" sz="11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gresso Ambev</a:t>
            </a:r>
            <a:br>
              <a:rPr lang="pt-BR" sz="11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1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r/</a:t>
            </a:r>
            <a:r>
              <a:rPr lang="pt-BR" sz="1000" i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020</a:t>
            </a:r>
            <a:endParaRPr sz="1100" b="1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1" name="Google Shape;391;g1e3008f50e7_1_145"/>
          <p:cNvSpPr txBox="1"/>
          <p:nvPr/>
        </p:nvSpPr>
        <p:spPr>
          <a:xfrm>
            <a:off x="3427966" y="5466792"/>
            <a:ext cx="1957200" cy="4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Calibri"/>
              <a:buNone/>
            </a:pPr>
            <a:r>
              <a:rPr lang="pt-BR" sz="1100" b="1">
                <a:latin typeface="Calibri"/>
                <a:ea typeface="Calibri"/>
                <a:cs typeface="Calibri"/>
                <a:sym typeface="Calibri"/>
              </a:rPr>
              <a:t>Efetivação Ambev</a:t>
            </a:r>
            <a:br>
              <a:rPr lang="pt-BR" sz="11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1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dez/</a:t>
            </a:r>
            <a:r>
              <a:rPr lang="pt-BR" sz="1000" i="1">
                <a:latin typeface="Calibri"/>
                <a:ea typeface="Calibri"/>
                <a:cs typeface="Calibri"/>
                <a:sym typeface="Calibri"/>
              </a:rPr>
              <a:t>20</a:t>
            </a:r>
            <a:endParaRPr sz="11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2" name="Google Shape;392;g1e3008f50e7_1_145"/>
          <p:cNvSpPr/>
          <p:nvPr/>
        </p:nvSpPr>
        <p:spPr>
          <a:xfrm>
            <a:off x="11900774" y="933450"/>
            <a:ext cx="291300" cy="49911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93" name="Google Shape;393;g1e3008f50e7_1_145"/>
          <p:cNvPicPr preferRelativeResize="0"/>
          <p:nvPr/>
        </p:nvPicPr>
        <p:blipFill rotWithShape="1">
          <a:blip r:embed="rId4">
            <a:alphaModFix/>
          </a:blip>
          <a:srcRect l="6332" t="26010" r="6323" b="11630"/>
          <a:stretch/>
        </p:blipFill>
        <p:spPr>
          <a:xfrm>
            <a:off x="5142038" y="252400"/>
            <a:ext cx="1957200" cy="1863300"/>
          </a:xfrm>
          <a:prstGeom prst="ellipse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394" name="Google Shape;394;g1e3008f50e7_1_145"/>
          <p:cNvPicPr preferRelativeResize="0"/>
          <p:nvPr/>
        </p:nvPicPr>
        <p:blipFill rotWithShape="1">
          <a:blip r:embed="rId5">
            <a:alphaModFix/>
          </a:blip>
          <a:srcRect r="8366" b="8374"/>
          <a:stretch/>
        </p:blipFill>
        <p:spPr>
          <a:xfrm>
            <a:off x="5178788" y="2393124"/>
            <a:ext cx="1883700" cy="1863300"/>
          </a:xfrm>
          <a:prstGeom prst="ellipse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395" name="Google Shape;395;g1e3008f50e7_1_145"/>
          <p:cNvPicPr preferRelativeResize="0"/>
          <p:nvPr/>
        </p:nvPicPr>
        <p:blipFill rotWithShape="1">
          <a:blip r:embed="rId6">
            <a:alphaModFix/>
          </a:blip>
          <a:srcRect t="9147" r="7578" b="22284"/>
          <a:stretch/>
        </p:blipFill>
        <p:spPr>
          <a:xfrm>
            <a:off x="8305325" y="1325800"/>
            <a:ext cx="1883700" cy="1863300"/>
          </a:xfrm>
          <a:prstGeom prst="ellipse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396" name="Google Shape;396;g1e3008f50e7_1_145"/>
          <p:cNvPicPr preferRelativeResize="0"/>
          <p:nvPr/>
        </p:nvPicPr>
        <p:blipFill rotWithShape="1">
          <a:blip r:embed="rId7">
            <a:alphaModFix/>
          </a:blip>
          <a:srcRect l="12810" t="3165" r="17454" b="1478"/>
          <a:stretch/>
        </p:blipFill>
        <p:spPr>
          <a:xfrm>
            <a:off x="8268575" y="3458648"/>
            <a:ext cx="1957200" cy="2007000"/>
          </a:xfrm>
          <a:prstGeom prst="ellipse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397" name="Google Shape;397;g1e3008f50e7_1_145"/>
          <p:cNvPicPr preferRelativeResize="0"/>
          <p:nvPr/>
        </p:nvPicPr>
        <p:blipFill rotWithShape="1">
          <a:blip r:embed="rId8">
            <a:alphaModFix/>
          </a:blip>
          <a:srcRect l="27211" t="4147" r="4487" b="277"/>
          <a:stretch/>
        </p:blipFill>
        <p:spPr>
          <a:xfrm>
            <a:off x="5142038" y="4435525"/>
            <a:ext cx="1957200" cy="2054100"/>
          </a:xfrm>
          <a:prstGeom prst="ellipse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398" name="Google Shape;398;g1e3008f50e7_1_145"/>
          <p:cNvPicPr preferRelativeResize="0"/>
          <p:nvPr/>
        </p:nvPicPr>
        <p:blipFill rotWithShape="1">
          <a:blip r:embed="rId9">
            <a:alphaModFix/>
          </a:blip>
          <a:srcRect l="17345" r="21834"/>
          <a:stretch/>
        </p:blipFill>
        <p:spPr>
          <a:xfrm>
            <a:off x="130925" y="1109425"/>
            <a:ext cx="3129000" cy="3272700"/>
          </a:xfrm>
          <a:prstGeom prst="ellipse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1e3008f50e7_1_35"/>
          <p:cNvSpPr/>
          <p:nvPr/>
        </p:nvSpPr>
        <p:spPr>
          <a:xfrm>
            <a:off x="8668476" y="6337162"/>
            <a:ext cx="1311900" cy="3579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</a:pPr>
            <a:endParaRPr sz="32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4" name="Google Shape;404;g1e3008f50e7_1_35"/>
          <p:cNvSpPr/>
          <p:nvPr/>
        </p:nvSpPr>
        <p:spPr>
          <a:xfrm>
            <a:off x="7649432" y="4608965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5" name="Google Shape;405;g1e3008f50e7_1_35"/>
          <p:cNvSpPr/>
          <p:nvPr/>
        </p:nvSpPr>
        <p:spPr>
          <a:xfrm>
            <a:off x="-4081" y="933450"/>
            <a:ext cx="3399000" cy="49911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6" name="Google Shape;406;g1e3008f50e7_1_35"/>
          <p:cNvSpPr txBox="1"/>
          <p:nvPr/>
        </p:nvSpPr>
        <p:spPr>
          <a:xfrm>
            <a:off x="-177129" y="4435523"/>
            <a:ext cx="3745200" cy="1077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r>
              <a:rPr lang="pt-BR" sz="1600">
                <a:latin typeface="Calibri"/>
                <a:ea typeface="Calibri"/>
                <a:cs typeface="Calibri"/>
                <a:sym typeface="Calibri"/>
              </a:rPr>
              <a:t>Marcela Spatti | Alada</a:t>
            </a:r>
            <a:endParaRPr/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r>
              <a:rPr lang="pt-BR" sz="1600">
                <a:latin typeface="Calibri"/>
                <a:ea typeface="Calibri"/>
                <a:cs typeface="Calibri"/>
                <a:sym typeface="Calibri"/>
              </a:rPr>
              <a:t>25 anos </a:t>
            </a:r>
            <a:endParaRPr/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r>
              <a:rPr lang="pt-BR" sz="16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urma XVI </a:t>
            </a:r>
            <a:r>
              <a:rPr lang="pt-BR" sz="16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br>
              <a:rPr lang="pt-BR" sz="16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600">
                <a:latin typeface="Calibri"/>
                <a:ea typeface="Calibri"/>
                <a:cs typeface="Calibri"/>
                <a:sym typeface="Calibri"/>
              </a:rPr>
              <a:t>Analista SSR de Planejamento</a:t>
            </a:r>
            <a:endParaRPr/>
          </a:p>
        </p:txBody>
      </p:sp>
      <p:sp>
        <p:nvSpPr>
          <p:cNvPr id="407" name="Google Shape;407;g1e3008f50e7_1_35"/>
          <p:cNvSpPr/>
          <p:nvPr/>
        </p:nvSpPr>
        <p:spPr>
          <a:xfrm>
            <a:off x="141387" y="1256884"/>
            <a:ext cx="2987700" cy="29778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408" name="Google Shape;408;g1e3008f50e7_1_3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41581" y="1264917"/>
            <a:ext cx="2987700" cy="2983200"/>
          </a:xfrm>
          <a:prstGeom prst="ellipse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"/>
            <a:headEnd type="none" w="sm" len="sm"/>
            <a:tailEnd type="none" w="sm" len="sm"/>
          </a:ln>
        </p:spPr>
      </p:pic>
      <p:sp>
        <p:nvSpPr>
          <p:cNvPr id="409" name="Google Shape;409;g1e3008f50e7_1_35"/>
          <p:cNvSpPr/>
          <p:nvPr/>
        </p:nvSpPr>
        <p:spPr>
          <a:xfrm>
            <a:off x="-4075" y="933450"/>
            <a:ext cx="3399000" cy="54036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0" name="Google Shape;410;g1e3008f50e7_1_35"/>
          <p:cNvSpPr txBox="1"/>
          <p:nvPr/>
        </p:nvSpPr>
        <p:spPr>
          <a:xfrm>
            <a:off x="-177125" y="4130725"/>
            <a:ext cx="3745200" cy="2062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alibri"/>
              <a:buNone/>
            </a:pPr>
            <a:r>
              <a:rPr lang="pt-BR" sz="16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theus Zanatta | Netinho</a:t>
            </a:r>
            <a:endParaRPr>
              <a:solidFill>
                <a:schemeClr val="dk1"/>
              </a:solidFill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alibri"/>
              <a:buNone/>
            </a:pPr>
            <a:r>
              <a:rPr lang="pt-BR" sz="16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6 anos</a:t>
            </a:r>
            <a:endParaRPr>
              <a:solidFill>
                <a:schemeClr val="dk1"/>
              </a:solidFill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r>
              <a:rPr lang="pt-BR" sz="16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urma XVI</a:t>
            </a:r>
            <a:br>
              <a:rPr lang="pt-BR" sz="16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6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specialista PMO</a:t>
            </a:r>
            <a:endParaRPr sz="16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br>
              <a:rPr lang="pt-BR" sz="1600">
                <a:latin typeface="Calibri"/>
                <a:ea typeface="Calibri"/>
                <a:cs typeface="Calibri"/>
                <a:sym typeface="Calibri"/>
              </a:rPr>
            </a:br>
            <a:r>
              <a:rPr lang="pt-BR" sz="1600">
                <a:latin typeface="Calibri"/>
                <a:ea typeface="Calibri"/>
                <a:cs typeface="Calibri"/>
                <a:sym typeface="Calibri"/>
              </a:rPr>
              <a:t> Matheus Zanatta</a:t>
            </a:r>
            <a:endParaRPr sz="1600"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endParaRPr sz="1600"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r>
              <a:rPr lang="pt-BR" sz="1600">
                <a:latin typeface="Calibri"/>
                <a:ea typeface="Calibri"/>
                <a:cs typeface="Calibri"/>
                <a:sym typeface="Calibri"/>
              </a:rPr>
              <a:t>11 99991-9568</a:t>
            </a:r>
            <a:endParaRPr sz="1600"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412" name="Google Shape;412;g1e3008f50e7_1_35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685525" y="5872639"/>
            <a:ext cx="291300" cy="2913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13" name="Google Shape;413;g1e3008f50e7_1_35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714650" y="5393932"/>
            <a:ext cx="291300" cy="291300"/>
          </a:xfrm>
          <a:prstGeom prst="rect">
            <a:avLst/>
          </a:prstGeom>
          <a:noFill/>
          <a:ln>
            <a:noFill/>
          </a:ln>
        </p:spPr>
      </p:pic>
      <p:sp>
        <p:nvSpPr>
          <p:cNvPr id="414" name="Google Shape;414;g1e3008f50e7_1_35"/>
          <p:cNvSpPr/>
          <p:nvPr/>
        </p:nvSpPr>
        <p:spPr>
          <a:xfrm>
            <a:off x="8668476" y="6337162"/>
            <a:ext cx="1311900" cy="3579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</a:pPr>
            <a:endParaRPr sz="32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15" name="Google Shape;415;g1e3008f50e7_1_35" descr="Shape&#10;&#10;Description automatically generated with low confidence"/>
          <p:cNvPicPr preferRelativeResize="0"/>
          <p:nvPr/>
        </p:nvPicPr>
        <p:blipFill rotWithShape="1">
          <a:blip r:embed="rId6">
            <a:alphaModFix/>
          </a:blip>
          <a:srcRect b="8265"/>
          <a:stretch/>
        </p:blipFill>
        <p:spPr>
          <a:xfrm>
            <a:off x="11443306" y="6220980"/>
            <a:ext cx="457468" cy="419670"/>
          </a:xfrm>
          <a:prstGeom prst="rect">
            <a:avLst/>
          </a:prstGeom>
          <a:noFill/>
          <a:ln>
            <a:noFill/>
          </a:ln>
        </p:spPr>
      </p:pic>
      <p:sp>
        <p:nvSpPr>
          <p:cNvPr id="416" name="Google Shape;416;g1e3008f50e7_1_35"/>
          <p:cNvSpPr/>
          <p:nvPr/>
        </p:nvSpPr>
        <p:spPr>
          <a:xfrm rot="5400000">
            <a:off x="7190574" y="894342"/>
            <a:ext cx="1095600" cy="556800"/>
          </a:xfrm>
          <a:prstGeom prst="rect">
            <a:avLst/>
          </a:prstGeom>
          <a:solidFill>
            <a:srgbClr val="70AD47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7" name="Google Shape;417;g1e3008f50e7_1_35"/>
          <p:cNvSpPr/>
          <p:nvPr/>
        </p:nvSpPr>
        <p:spPr>
          <a:xfrm rot="5400000">
            <a:off x="7190571" y="1989850"/>
            <a:ext cx="1095600" cy="5568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8" name="Google Shape;418;g1e3008f50e7_1_35"/>
          <p:cNvSpPr/>
          <p:nvPr/>
        </p:nvSpPr>
        <p:spPr>
          <a:xfrm rot="5400000">
            <a:off x="7190568" y="3085359"/>
            <a:ext cx="1095600" cy="556800"/>
          </a:xfrm>
          <a:prstGeom prst="rect">
            <a:avLst/>
          </a:prstGeom>
          <a:solidFill>
            <a:srgbClr val="E78B0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9" name="Google Shape;419;g1e3008f50e7_1_35"/>
          <p:cNvSpPr/>
          <p:nvPr/>
        </p:nvSpPr>
        <p:spPr>
          <a:xfrm rot="5400000">
            <a:off x="7190564" y="4180866"/>
            <a:ext cx="1095600" cy="556800"/>
          </a:xfrm>
          <a:prstGeom prst="rect">
            <a:avLst/>
          </a:prstGeom>
          <a:solidFill>
            <a:srgbClr val="A2AD8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0" name="Google Shape;420;g1e3008f50e7_1_35"/>
          <p:cNvSpPr/>
          <p:nvPr/>
        </p:nvSpPr>
        <p:spPr>
          <a:xfrm>
            <a:off x="5366086" y="390419"/>
            <a:ext cx="1564500" cy="15645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1" name="Google Shape;421;g1e3008f50e7_1_35"/>
          <p:cNvSpPr/>
          <p:nvPr/>
        </p:nvSpPr>
        <p:spPr>
          <a:xfrm>
            <a:off x="8544050" y="1475194"/>
            <a:ext cx="1564500" cy="15645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2" name="Google Shape;422;g1e3008f50e7_1_35"/>
          <p:cNvSpPr/>
          <p:nvPr/>
        </p:nvSpPr>
        <p:spPr>
          <a:xfrm>
            <a:off x="5376670" y="2581435"/>
            <a:ext cx="1564500" cy="15645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3" name="Google Shape;423;g1e3008f50e7_1_35"/>
          <p:cNvSpPr/>
          <p:nvPr/>
        </p:nvSpPr>
        <p:spPr>
          <a:xfrm>
            <a:off x="8548269" y="3694648"/>
            <a:ext cx="1564500" cy="15645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4" name="Google Shape;424;g1e3008f50e7_1_35"/>
          <p:cNvSpPr/>
          <p:nvPr/>
        </p:nvSpPr>
        <p:spPr>
          <a:xfrm>
            <a:off x="8016763" y="2281486"/>
            <a:ext cx="540600" cy="753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5" name="Google Shape;425;g1e3008f50e7_1_35"/>
          <p:cNvSpPr/>
          <p:nvPr/>
        </p:nvSpPr>
        <p:spPr>
          <a:xfrm>
            <a:off x="6922736" y="1172696"/>
            <a:ext cx="540600" cy="75300"/>
          </a:xfrm>
          <a:prstGeom prst="rect">
            <a:avLst/>
          </a:prstGeom>
          <a:solidFill>
            <a:srgbClr val="70AD47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6" name="Google Shape;426;g1e3008f50e7_1_35"/>
          <p:cNvSpPr/>
          <p:nvPr/>
        </p:nvSpPr>
        <p:spPr>
          <a:xfrm>
            <a:off x="8016763" y="4477947"/>
            <a:ext cx="540600" cy="75300"/>
          </a:xfrm>
          <a:prstGeom prst="rect">
            <a:avLst/>
          </a:prstGeom>
          <a:solidFill>
            <a:srgbClr val="FFD96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7" name="Google Shape;427;g1e3008f50e7_1_35"/>
          <p:cNvSpPr/>
          <p:nvPr/>
        </p:nvSpPr>
        <p:spPr>
          <a:xfrm>
            <a:off x="6934489" y="3326805"/>
            <a:ext cx="540600" cy="75300"/>
          </a:xfrm>
          <a:prstGeom prst="rect">
            <a:avLst/>
          </a:prstGeom>
          <a:solidFill>
            <a:srgbClr val="E78B0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8" name="Google Shape;428;g1e3008f50e7_1_35"/>
          <p:cNvSpPr/>
          <p:nvPr/>
        </p:nvSpPr>
        <p:spPr>
          <a:xfrm>
            <a:off x="7657434" y="1178710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9" name="Google Shape;429;g1e3008f50e7_1_35"/>
          <p:cNvSpPr/>
          <p:nvPr/>
        </p:nvSpPr>
        <p:spPr>
          <a:xfrm>
            <a:off x="7657434" y="2229229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0" name="Google Shape;430;g1e3008f50e7_1_35"/>
          <p:cNvSpPr/>
          <p:nvPr/>
        </p:nvSpPr>
        <p:spPr>
          <a:xfrm>
            <a:off x="7649433" y="3243774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1" name="Google Shape;431;g1e3008f50e7_1_35"/>
          <p:cNvSpPr/>
          <p:nvPr/>
        </p:nvSpPr>
        <p:spPr>
          <a:xfrm>
            <a:off x="7649432" y="4456565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2" name="Google Shape;432;g1e3008f50e7_1_35"/>
          <p:cNvSpPr txBox="1"/>
          <p:nvPr/>
        </p:nvSpPr>
        <p:spPr>
          <a:xfrm>
            <a:off x="3394923" y="964917"/>
            <a:ext cx="1957200" cy="4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</a:pPr>
            <a:r>
              <a:rPr lang="pt-BR" sz="11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ormação Eng. Alimentos</a:t>
            </a:r>
            <a:br>
              <a:rPr lang="pt-BR" sz="11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000" i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021</a:t>
            </a:r>
            <a:endParaRPr sz="11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3" name="Google Shape;433;g1e3008f50e7_1_35"/>
          <p:cNvSpPr txBox="1"/>
          <p:nvPr/>
        </p:nvSpPr>
        <p:spPr>
          <a:xfrm>
            <a:off x="10112774" y="2049710"/>
            <a:ext cx="1957200" cy="4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</a:pPr>
            <a:r>
              <a:rPr lang="pt-BR" sz="11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rainee Grupo Boticário</a:t>
            </a:r>
            <a:br>
              <a:rPr lang="pt-BR" sz="11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000" i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022</a:t>
            </a:r>
            <a:endParaRPr sz="110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4" name="Google Shape;434;g1e3008f50e7_1_35"/>
          <p:cNvSpPr txBox="1"/>
          <p:nvPr/>
        </p:nvSpPr>
        <p:spPr>
          <a:xfrm>
            <a:off x="3394922" y="3155918"/>
            <a:ext cx="1957200" cy="4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</a:pPr>
            <a:r>
              <a:rPr lang="pt-BR" sz="11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locação Pós-Trainee</a:t>
            </a:r>
            <a:br>
              <a:rPr lang="pt-BR" sz="11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000" i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br/23</a:t>
            </a:r>
            <a:endParaRPr sz="1000" i="1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5" name="Google Shape;435;g1e3008f50e7_1_35"/>
          <p:cNvSpPr txBox="1"/>
          <p:nvPr/>
        </p:nvSpPr>
        <p:spPr>
          <a:xfrm>
            <a:off x="9943582" y="4237431"/>
            <a:ext cx="1957200" cy="76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</a:pPr>
            <a:r>
              <a:rPr lang="pt-BR" sz="11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ício Pós-Graduação </a:t>
            </a:r>
            <a:endParaRPr sz="1100" b="1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</a:pPr>
            <a:r>
              <a:rPr lang="pt-BR" sz="11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A Business School</a:t>
            </a:r>
            <a:br>
              <a:rPr lang="pt-BR" sz="11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1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nanças e Eficiência Empresarial | </a:t>
            </a:r>
            <a:r>
              <a:rPr lang="pt-BR" sz="1100" i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br/</a:t>
            </a:r>
            <a:r>
              <a:rPr lang="pt-BR" sz="1000" i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3</a:t>
            </a:r>
            <a:endParaRPr sz="1100" b="1" i="1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6" name="Google Shape;436;g1e3008f50e7_1_35"/>
          <p:cNvSpPr/>
          <p:nvPr/>
        </p:nvSpPr>
        <p:spPr>
          <a:xfrm>
            <a:off x="11900774" y="933450"/>
            <a:ext cx="291300" cy="49911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437" name="Google Shape;437;g1e3008f50e7_1_35"/>
          <p:cNvPicPr preferRelativeResize="0"/>
          <p:nvPr/>
        </p:nvPicPr>
        <p:blipFill rotWithShape="1">
          <a:blip r:embed="rId7">
            <a:alphaModFix/>
          </a:blip>
          <a:srcRect l="26314" t="20775" r="21721" b="27260"/>
          <a:stretch/>
        </p:blipFill>
        <p:spPr>
          <a:xfrm>
            <a:off x="8345825" y="1278850"/>
            <a:ext cx="1957200" cy="1957200"/>
          </a:xfrm>
          <a:prstGeom prst="ellipse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438" name="Google Shape;438;g1e3008f50e7_1_35"/>
          <p:cNvPicPr preferRelativeResize="0"/>
          <p:nvPr/>
        </p:nvPicPr>
        <p:blipFill rotWithShape="1">
          <a:blip r:embed="rId8">
            <a:alphaModFix/>
          </a:blip>
          <a:srcRect l="20892" t="3531" b="36100"/>
          <a:stretch/>
        </p:blipFill>
        <p:spPr>
          <a:xfrm>
            <a:off x="5173725" y="2368750"/>
            <a:ext cx="1957200" cy="1991400"/>
          </a:xfrm>
          <a:prstGeom prst="ellipse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439" name="Google Shape;439;g1e3008f50e7_1_35"/>
          <p:cNvPicPr preferRelativeResize="0"/>
          <p:nvPr/>
        </p:nvPicPr>
        <p:blipFill>
          <a:blip r:embed="rId9">
            <a:alphaModFix/>
          </a:blip>
          <a:stretch>
            <a:fillRect/>
          </a:stretch>
        </p:blipFill>
        <p:spPr>
          <a:xfrm>
            <a:off x="8345825" y="3458925"/>
            <a:ext cx="1957200" cy="1957200"/>
          </a:xfrm>
          <a:prstGeom prst="ellipse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440" name="Google Shape;440;g1e3008f50e7_1_35"/>
          <p:cNvPicPr preferRelativeResize="0"/>
          <p:nvPr/>
        </p:nvPicPr>
        <p:blipFill rotWithShape="1">
          <a:blip r:embed="rId10">
            <a:alphaModFix/>
          </a:blip>
          <a:srcRect l="27333" t="22326" r="4741" b="28247"/>
          <a:stretch/>
        </p:blipFill>
        <p:spPr>
          <a:xfrm>
            <a:off x="5173725" y="223250"/>
            <a:ext cx="1957200" cy="1899000"/>
          </a:xfrm>
          <a:prstGeom prst="ellipse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441" name="Google Shape;441;g1e3008f50e7_1_35"/>
          <p:cNvPicPr preferRelativeResize="0"/>
          <p:nvPr/>
        </p:nvPicPr>
        <p:blipFill rotWithShape="1">
          <a:blip r:embed="rId11">
            <a:alphaModFix/>
          </a:blip>
          <a:srcRect l="17345" r="21834"/>
          <a:stretch/>
        </p:blipFill>
        <p:spPr>
          <a:xfrm>
            <a:off x="304266" y="1203335"/>
            <a:ext cx="2746217" cy="2820461"/>
          </a:xfrm>
          <a:prstGeom prst="ellipse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6" name="Google Shape;446;g1e301dd1749_0_0"/>
          <p:cNvSpPr/>
          <p:nvPr/>
        </p:nvSpPr>
        <p:spPr>
          <a:xfrm>
            <a:off x="-4081" y="933450"/>
            <a:ext cx="3399000" cy="49911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7" name="Google Shape;447;g1e301dd1749_0_0"/>
          <p:cNvSpPr txBox="1"/>
          <p:nvPr/>
        </p:nvSpPr>
        <p:spPr>
          <a:xfrm>
            <a:off x="201631" y="255606"/>
            <a:ext cx="29877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Arial"/>
              <a:buNone/>
            </a:pPr>
            <a:r>
              <a:rPr lang="pt-BR" sz="2400" b="1" i="0" u="none" strike="noStrike" cap="none">
                <a:solidFill>
                  <a:srgbClr val="212121"/>
                </a:solidFill>
                <a:latin typeface="Arial"/>
                <a:ea typeface="Arial"/>
                <a:cs typeface="Arial"/>
                <a:sym typeface="Arial"/>
              </a:rPr>
              <a:t>Linha do Tempo</a:t>
            </a:r>
            <a:endParaRPr/>
          </a:p>
        </p:txBody>
      </p:sp>
      <p:sp>
        <p:nvSpPr>
          <p:cNvPr id="448" name="Google Shape;448;g1e301dd1749_0_0"/>
          <p:cNvSpPr/>
          <p:nvPr/>
        </p:nvSpPr>
        <p:spPr>
          <a:xfrm>
            <a:off x="8668476" y="6337162"/>
            <a:ext cx="1311900" cy="3579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</a:pPr>
            <a:endParaRPr sz="32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49" name="Google Shape;449;g1e301dd1749_0_0" descr="Shape&#10;&#10;Description automatically generated with low confidence"/>
          <p:cNvPicPr preferRelativeResize="0"/>
          <p:nvPr/>
        </p:nvPicPr>
        <p:blipFill rotWithShape="1">
          <a:blip r:embed="rId3">
            <a:alphaModFix/>
          </a:blip>
          <a:srcRect b="8265"/>
          <a:stretch/>
        </p:blipFill>
        <p:spPr>
          <a:xfrm>
            <a:off x="11443306" y="6220980"/>
            <a:ext cx="457468" cy="419670"/>
          </a:xfrm>
          <a:prstGeom prst="rect">
            <a:avLst/>
          </a:prstGeom>
          <a:noFill/>
          <a:ln>
            <a:noFill/>
          </a:ln>
        </p:spPr>
      </p:pic>
      <p:sp>
        <p:nvSpPr>
          <p:cNvPr id="450" name="Google Shape;450;g1e301dd1749_0_0"/>
          <p:cNvSpPr txBox="1"/>
          <p:nvPr/>
        </p:nvSpPr>
        <p:spPr>
          <a:xfrm>
            <a:off x="-177129" y="4435523"/>
            <a:ext cx="3745200" cy="1077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r>
              <a:rPr lang="pt-BR" sz="1600">
                <a:latin typeface="Calibri"/>
                <a:ea typeface="Calibri"/>
                <a:cs typeface="Calibri"/>
                <a:sym typeface="Calibri"/>
              </a:rPr>
              <a:t>Matheus Curcio | Supino</a:t>
            </a:r>
            <a:endParaRPr/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r>
              <a:rPr lang="pt-BR" sz="1600">
                <a:latin typeface="Calibri"/>
                <a:ea typeface="Calibri"/>
                <a:cs typeface="Calibri"/>
                <a:sym typeface="Calibri"/>
              </a:rPr>
              <a:t>27</a:t>
            </a:r>
            <a:endParaRPr/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r>
              <a:rPr lang="pt-BR" sz="1600">
                <a:latin typeface="Calibri"/>
                <a:ea typeface="Calibri"/>
                <a:cs typeface="Calibri"/>
                <a:sym typeface="Calibri"/>
              </a:rPr>
              <a:t>Turma XVI</a:t>
            </a:r>
            <a:r>
              <a:rPr lang="pt-BR" sz="16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br>
              <a:rPr lang="pt-BR" sz="16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600">
                <a:latin typeface="Calibri"/>
                <a:ea typeface="Calibri"/>
                <a:cs typeface="Calibri"/>
                <a:sym typeface="Calibri"/>
              </a:rPr>
              <a:t>Analista Pleno Customer Success</a:t>
            </a:r>
            <a:endParaRPr/>
          </a:p>
        </p:txBody>
      </p:sp>
      <p:sp>
        <p:nvSpPr>
          <p:cNvPr id="451" name="Google Shape;451;g1e301dd1749_0_0"/>
          <p:cNvSpPr/>
          <p:nvPr/>
        </p:nvSpPr>
        <p:spPr>
          <a:xfrm>
            <a:off x="141387" y="1256884"/>
            <a:ext cx="2987700" cy="29778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2" name="Google Shape;452;g1e301dd1749_0_0"/>
          <p:cNvSpPr/>
          <p:nvPr/>
        </p:nvSpPr>
        <p:spPr>
          <a:xfrm rot="5400000">
            <a:off x="7190574" y="894342"/>
            <a:ext cx="1095600" cy="556800"/>
          </a:xfrm>
          <a:prstGeom prst="rect">
            <a:avLst/>
          </a:prstGeom>
          <a:solidFill>
            <a:srgbClr val="70AD47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3" name="Google Shape;453;g1e301dd1749_0_0"/>
          <p:cNvSpPr/>
          <p:nvPr/>
        </p:nvSpPr>
        <p:spPr>
          <a:xfrm rot="5400000">
            <a:off x="7190571" y="1989850"/>
            <a:ext cx="1095600" cy="5568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4" name="Google Shape;454;g1e301dd1749_0_0"/>
          <p:cNvSpPr/>
          <p:nvPr/>
        </p:nvSpPr>
        <p:spPr>
          <a:xfrm rot="5400000">
            <a:off x="7190568" y="3085359"/>
            <a:ext cx="1095600" cy="556800"/>
          </a:xfrm>
          <a:prstGeom prst="rect">
            <a:avLst/>
          </a:prstGeom>
          <a:solidFill>
            <a:srgbClr val="E78B0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5" name="Google Shape;455;g1e301dd1749_0_0"/>
          <p:cNvSpPr/>
          <p:nvPr/>
        </p:nvSpPr>
        <p:spPr>
          <a:xfrm rot="5400000">
            <a:off x="7190564" y="4180866"/>
            <a:ext cx="1095600" cy="556800"/>
          </a:xfrm>
          <a:prstGeom prst="rect">
            <a:avLst/>
          </a:prstGeom>
          <a:solidFill>
            <a:srgbClr val="A2AD8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6" name="Google Shape;456;g1e301dd1749_0_0"/>
          <p:cNvSpPr/>
          <p:nvPr/>
        </p:nvSpPr>
        <p:spPr>
          <a:xfrm rot="5400000">
            <a:off x="7190564" y="5276374"/>
            <a:ext cx="1095600" cy="556800"/>
          </a:xfrm>
          <a:prstGeom prst="rect">
            <a:avLst/>
          </a:prstGeom>
          <a:solidFill>
            <a:srgbClr val="756E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7" name="Google Shape;457;g1e301dd1749_0_0"/>
          <p:cNvSpPr/>
          <p:nvPr/>
        </p:nvSpPr>
        <p:spPr>
          <a:xfrm>
            <a:off x="5366086" y="390419"/>
            <a:ext cx="1564500" cy="15645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8" name="Google Shape;458;g1e301dd1749_0_0"/>
          <p:cNvSpPr/>
          <p:nvPr/>
        </p:nvSpPr>
        <p:spPr>
          <a:xfrm>
            <a:off x="8544050" y="1475194"/>
            <a:ext cx="1564500" cy="15645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9" name="Google Shape;459;g1e301dd1749_0_0"/>
          <p:cNvSpPr/>
          <p:nvPr/>
        </p:nvSpPr>
        <p:spPr>
          <a:xfrm>
            <a:off x="5376670" y="2581435"/>
            <a:ext cx="1564500" cy="15645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0" name="Google Shape;460;g1e301dd1749_0_0"/>
          <p:cNvSpPr/>
          <p:nvPr/>
        </p:nvSpPr>
        <p:spPr>
          <a:xfrm>
            <a:off x="8548269" y="3694648"/>
            <a:ext cx="1564500" cy="15645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1" name="Google Shape;461;g1e301dd1749_0_0"/>
          <p:cNvSpPr/>
          <p:nvPr/>
        </p:nvSpPr>
        <p:spPr>
          <a:xfrm>
            <a:off x="5393426" y="4772451"/>
            <a:ext cx="1564500" cy="15645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2" name="Google Shape;462;g1e301dd1749_0_0"/>
          <p:cNvSpPr/>
          <p:nvPr/>
        </p:nvSpPr>
        <p:spPr>
          <a:xfrm>
            <a:off x="8016763" y="2281486"/>
            <a:ext cx="540600" cy="753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3" name="Google Shape;463;g1e301dd1749_0_0"/>
          <p:cNvSpPr/>
          <p:nvPr/>
        </p:nvSpPr>
        <p:spPr>
          <a:xfrm>
            <a:off x="6922736" y="1172696"/>
            <a:ext cx="540600" cy="75300"/>
          </a:xfrm>
          <a:prstGeom prst="rect">
            <a:avLst/>
          </a:prstGeom>
          <a:solidFill>
            <a:srgbClr val="70AD47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4" name="Google Shape;464;g1e301dd1749_0_0"/>
          <p:cNvSpPr/>
          <p:nvPr/>
        </p:nvSpPr>
        <p:spPr>
          <a:xfrm>
            <a:off x="8016763" y="4477947"/>
            <a:ext cx="540600" cy="75300"/>
          </a:xfrm>
          <a:prstGeom prst="rect">
            <a:avLst/>
          </a:prstGeom>
          <a:solidFill>
            <a:srgbClr val="FFD96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5" name="Google Shape;465;g1e301dd1749_0_0"/>
          <p:cNvSpPr/>
          <p:nvPr/>
        </p:nvSpPr>
        <p:spPr>
          <a:xfrm>
            <a:off x="6934489" y="3326805"/>
            <a:ext cx="540600" cy="75300"/>
          </a:xfrm>
          <a:prstGeom prst="rect">
            <a:avLst/>
          </a:prstGeom>
          <a:solidFill>
            <a:srgbClr val="E78B0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6" name="Google Shape;466;g1e301dd1749_0_0"/>
          <p:cNvSpPr/>
          <p:nvPr/>
        </p:nvSpPr>
        <p:spPr>
          <a:xfrm>
            <a:off x="6957980" y="5553409"/>
            <a:ext cx="540600" cy="75300"/>
          </a:xfrm>
          <a:prstGeom prst="rect">
            <a:avLst/>
          </a:prstGeom>
          <a:solidFill>
            <a:srgbClr val="323F4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7" name="Google Shape;467;g1e301dd1749_0_0"/>
          <p:cNvSpPr/>
          <p:nvPr/>
        </p:nvSpPr>
        <p:spPr>
          <a:xfrm>
            <a:off x="7657434" y="1178710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8" name="Google Shape;468;g1e301dd1749_0_0"/>
          <p:cNvSpPr/>
          <p:nvPr/>
        </p:nvSpPr>
        <p:spPr>
          <a:xfrm>
            <a:off x="7657434" y="2229229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9" name="Google Shape;469;g1e301dd1749_0_0"/>
          <p:cNvSpPr/>
          <p:nvPr/>
        </p:nvSpPr>
        <p:spPr>
          <a:xfrm>
            <a:off x="7649433" y="3243774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0" name="Google Shape;470;g1e301dd1749_0_0"/>
          <p:cNvSpPr/>
          <p:nvPr/>
        </p:nvSpPr>
        <p:spPr>
          <a:xfrm>
            <a:off x="7649432" y="4456565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1" name="Google Shape;471;g1e301dd1749_0_0"/>
          <p:cNvSpPr/>
          <p:nvPr/>
        </p:nvSpPr>
        <p:spPr>
          <a:xfrm>
            <a:off x="7649432" y="5512741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2" name="Google Shape;472;g1e301dd1749_0_0"/>
          <p:cNvSpPr txBox="1"/>
          <p:nvPr/>
        </p:nvSpPr>
        <p:spPr>
          <a:xfrm>
            <a:off x="3568073" y="917342"/>
            <a:ext cx="1957200" cy="4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Calibri"/>
              <a:buNone/>
            </a:pPr>
            <a:r>
              <a:rPr lang="pt-BR" sz="1100" b="1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In</a:t>
            </a:r>
            <a:r>
              <a:rPr lang="pt-BR" sz="1100" b="1">
                <a:latin typeface="Calibri"/>
                <a:ea typeface="Calibri"/>
                <a:cs typeface="Calibri"/>
                <a:sym typeface="Calibri"/>
              </a:rPr>
              <a:t>gresso Usp</a:t>
            </a:r>
            <a:br>
              <a:rPr lang="pt-BR" sz="11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000" i="1">
                <a:latin typeface="Calibri"/>
                <a:ea typeface="Calibri"/>
                <a:cs typeface="Calibri"/>
                <a:sym typeface="Calibri"/>
              </a:rPr>
              <a:t>2015</a:t>
            </a:r>
            <a:endParaRPr sz="11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3" name="Google Shape;473;g1e301dd1749_0_0"/>
          <p:cNvSpPr txBox="1"/>
          <p:nvPr/>
        </p:nvSpPr>
        <p:spPr>
          <a:xfrm>
            <a:off x="9812824" y="2013785"/>
            <a:ext cx="1957200" cy="4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Calibri"/>
              <a:buNone/>
            </a:pPr>
            <a:r>
              <a:rPr lang="pt-BR" sz="1100" b="1">
                <a:latin typeface="Calibri"/>
                <a:ea typeface="Calibri"/>
                <a:cs typeface="Calibri"/>
                <a:sym typeface="Calibri"/>
              </a:rPr>
              <a:t>Mukifu</a:t>
            </a:r>
            <a:br>
              <a:rPr lang="pt-BR" sz="11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000" i="1">
                <a:latin typeface="Calibri"/>
                <a:ea typeface="Calibri"/>
                <a:cs typeface="Calibri"/>
                <a:sym typeface="Calibri"/>
              </a:rPr>
              <a:t>2015</a:t>
            </a:r>
            <a:endParaRPr sz="11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4" name="Google Shape;474;g1e301dd1749_0_0"/>
          <p:cNvSpPr txBox="1"/>
          <p:nvPr/>
        </p:nvSpPr>
        <p:spPr>
          <a:xfrm>
            <a:off x="3568072" y="3125368"/>
            <a:ext cx="1957200" cy="58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Calibri"/>
              <a:buNone/>
            </a:pPr>
            <a:r>
              <a:rPr lang="pt-BR" sz="1100" b="1">
                <a:latin typeface="Calibri"/>
                <a:ea typeface="Calibri"/>
                <a:cs typeface="Calibri"/>
                <a:sym typeface="Calibri"/>
              </a:rPr>
              <a:t>Estágio Lab. </a:t>
            </a:r>
            <a:endParaRPr sz="1100" b="1"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Calibri"/>
              <a:buNone/>
            </a:pPr>
            <a:r>
              <a:rPr lang="pt-BR" sz="1100" b="1">
                <a:latin typeface="Calibri"/>
                <a:ea typeface="Calibri"/>
                <a:cs typeface="Calibri"/>
                <a:sym typeface="Calibri"/>
              </a:rPr>
              <a:t>Produtos Cárneos</a:t>
            </a:r>
            <a:br>
              <a:rPr lang="pt-BR" sz="11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000" i="1">
                <a:latin typeface="Calibri"/>
                <a:ea typeface="Calibri"/>
                <a:cs typeface="Calibri"/>
                <a:sym typeface="Calibri"/>
              </a:rPr>
              <a:t>2016</a:t>
            </a:r>
            <a:endParaRPr sz="11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5" name="Google Shape;475;g1e301dd1749_0_0"/>
          <p:cNvSpPr txBox="1"/>
          <p:nvPr/>
        </p:nvSpPr>
        <p:spPr>
          <a:xfrm>
            <a:off x="10112782" y="4245081"/>
            <a:ext cx="1957200" cy="58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Calibri"/>
              <a:buNone/>
            </a:pPr>
            <a:r>
              <a:rPr lang="pt-BR" sz="1100" b="1">
                <a:latin typeface="Calibri"/>
                <a:ea typeface="Calibri"/>
                <a:cs typeface="Calibri"/>
                <a:sym typeface="Calibri"/>
              </a:rPr>
              <a:t>Estágio PUB Lab. </a:t>
            </a:r>
            <a:br>
              <a:rPr lang="pt-BR" sz="1100" b="1">
                <a:latin typeface="Calibri"/>
                <a:ea typeface="Calibri"/>
                <a:cs typeface="Calibri"/>
                <a:sym typeface="Calibri"/>
              </a:rPr>
            </a:br>
            <a:r>
              <a:rPr lang="pt-BR" sz="1100" b="1">
                <a:latin typeface="Calibri"/>
                <a:ea typeface="Calibri"/>
                <a:cs typeface="Calibri"/>
                <a:sym typeface="Calibri"/>
              </a:rPr>
              <a:t>Tec. de Alta Pressão</a:t>
            </a:r>
            <a:br>
              <a:rPr lang="pt-BR" sz="11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000" i="1">
                <a:latin typeface="Calibri"/>
                <a:ea typeface="Calibri"/>
                <a:cs typeface="Calibri"/>
                <a:sym typeface="Calibri"/>
              </a:rPr>
              <a:t>2019</a:t>
            </a:r>
            <a:endParaRPr sz="11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6" name="Google Shape;476;g1e301dd1749_0_0"/>
          <p:cNvSpPr txBox="1"/>
          <p:nvPr/>
        </p:nvSpPr>
        <p:spPr>
          <a:xfrm>
            <a:off x="3568066" y="5394492"/>
            <a:ext cx="1957200" cy="58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Calibri"/>
              <a:buNone/>
            </a:pPr>
            <a:r>
              <a:rPr lang="pt-BR" sz="1100" b="1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In</a:t>
            </a:r>
            <a:r>
              <a:rPr lang="pt-BR" sz="1100" b="1">
                <a:latin typeface="Calibri"/>
                <a:ea typeface="Calibri"/>
                <a:cs typeface="Calibri"/>
                <a:sym typeface="Calibri"/>
              </a:rPr>
              <a:t>gresso Estágio </a:t>
            </a:r>
            <a:br>
              <a:rPr lang="pt-BR" sz="1100" b="1">
                <a:latin typeface="Calibri"/>
                <a:ea typeface="Calibri"/>
                <a:cs typeface="Calibri"/>
                <a:sym typeface="Calibri"/>
              </a:rPr>
            </a:br>
            <a:r>
              <a:rPr lang="pt-BR" sz="1100" b="1">
                <a:latin typeface="Calibri"/>
                <a:ea typeface="Calibri"/>
                <a:cs typeface="Calibri"/>
                <a:sym typeface="Calibri"/>
              </a:rPr>
              <a:t>(Accounfy)</a:t>
            </a:r>
            <a:br>
              <a:rPr lang="pt-BR" sz="11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000" i="1">
                <a:latin typeface="Calibri"/>
                <a:ea typeface="Calibri"/>
                <a:cs typeface="Calibri"/>
                <a:sym typeface="Calibri"/>
              </a:rPr>
              <a:t>2021</a:t>
            </a:r>
            <a:endParaRPr sz="11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7" name="Google Shape;477;g1e301dd1749_0_0"/>
          <p:cNvSpPr/>
          <p:nvPr/>
        </p:nvSpPr>
        <p:spPr>
          <a:xfrm>
            <a:off x="11900774" y="933450"/>
            <a:ext cx="291300" cy="49911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478" name="Google Shape;478;g1e301dd1749_0_0"/>
          <p:cNvPicPr preferRelativeResize="0"/>
          <p:nvPr/>
        </p:nvPicPr>
        <p:blipFill rotWithShape="1">
          <a:blip r:embed="rId4">
            <a:alphaModFix/>
          </a:blip>
          <a:srcRect l="13617" t="20265" r="5081" b="14087"/>
          <a:stretch/>
        </p:blipFill>
        <p:spPr>
          <a:xfrm>
            <a:off x="141375" y="1137475"/>
            <a:ext cx="2987700" cy="3216600"/>
          </a:xfrm>
          <a:prstGeom prst="ellipse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"/>
            <a:headEnd type="none" w="sm" len="sm"/>
            <a:tailEnd type="none" w="sm" len="sm"/>
          </a:ln>
        </p:spPr>
      </p:pic>
      <p:pic>
        <p:nvPicPr>
          <p:cNvPr id="479" name="Google Shape;479;g1e301dd1749_0_0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5132825" y="4664038"/>
            <a:ext cx="1850700" cy="1854000"/>
          </a:xfrm>
          <a:prstGeom prst="ellipse">
            <a:avLst/>
          </a:prstGeom>
          <a:noFill/>
          <a:ln>
            <a:noFill/>
          </a:ln>
        </p:spPr>
      </p:pic>
      <p:pic>
        <p:nvPicPr>
          <p:cNvPr id="480" name="Google Shape;480;g1e301dd1749_0_0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8546175" y="1383100"/>
            <a:ext cx="1957200" cy="1748700"/>
          </a:xfrm>
          <a:prstGeom prst="ellipse">
            <a:avLst/>
          </a:prstGeom>
          <a:noFill/>
          <a:ln>
            <a:noFill/>
          </a:ln>
        </p:spPr>
      </p:pic>
      <p:pic>
        <p:nvPicPr>
          <p:cNvPr id="481" name="Google Shape;481;g1e301dd1749_0_0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5082000" y="362300"/>
            <a:ext cx="1850700" cy="1701000"/>
          </a:xfrm>
          <a:prstGeom prst="ellipse">
            <a:avLst/>
          </a:prstGeom>
          <a:noFill/>
          <a:ln>
            <a:noFill/>
          </a:ln>
        </p:spPr>
      </p:pic>
      <p:pic>
        <p:nvPicPr>
          <p:cNvPr id="482" name="Google Shape;482;g1e301dd1749_0_0"/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8535575" y="3626400"/>
            <a:ext cx="1850700" cy="1701000"/>
          </a:xfrm>
          <a:prstGeom prst="ellipse">
            <a:avLst/>
          </a:prstGeom>
          <a:noFill/>
          <a:ln>
            <a:noFill/>
          </a:ln>
        </p:spPr>
      </p:pic>
      <p:pic>
        <p:nvPicPr>
          <p:cNvPr id="483" name="Google Shape;483;g1e301dd1749_0_0"/>
          <p:cNvPicPr preferRelativeResize="0"/>
          <p:nvPr/>
        </p:nvPicPr>
        <p:blipFill>
          <a:blip r:embed="rId9">
            <a:alphaModFix/>
          </a:blip>
          <a:stretch>
            <a:fillRect/>
          </a:stretch>
        </p:blipFill>
        <p:spPr>
          <a:xfrm>
            <a:off x="5231700" y="2558775"/>
            <a:ext cx="1701000" cy="1609800"/>
          </a:xfrm>
          <a:prstGeom prst="ellipse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8" name="Google Shape;488;g1e301dd1749_0_35"/>
          <p:cNvSpPr/>
          <p:nvPr/>
        </p:nvSpPr>
        <p:spPr>
          <a:xfrm>
            <a:off x="-4075" y="933450"/>
            <a:ext cx="3399000" cy="57072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9" name="Google Shape;489;g1e301dd1749_0_35"/>
          <p:cNvSpPr txBox="1"/>
          <p:nvPr/>
        </p:nvSpPr>
        <p:spPr>
          <a:xfrm>
            <a:off x="201631" y="255606"/>
            <a:ext cx="29877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Arial"/>
              <a:buNone/>
            </a:pPr>
            <a:r>
              <a:rPr lang="pt-BR" sz="2400" b="1" i="0" u="none" strike="noStrike" cap="none">
                <a:solidFill>
                  <a:srgbClr val="212121"/>
                </a:solidFill>
                <a:latin typeface="Arial"/>
                <a:ea typeface="Arial"/>
                <a:cs typeface="Arial"/>
                <a:sym typeface="Arial"/>
              </a:rPr>
              <a:t>Linha do Tempo</a:t>
            </a:r>
            <a:endParaRPr/>
          </a:p>
        </p:txBody>
      </p:sp>
      <p:sp>
        <p:nvSpPr>
          <p:cNvPr id="490" name="Google Shape;490;g1e301dd1749_0_35"/>
          <p:cNvSpPr/>
          <p:nvPr/>
        </p:nvSpPr>
        <p:spPr>
          <a:xfrm>
            <a:off x="8668476" y="6337162"/>
            <a:ext cx="1311900" cy="3579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</a:pPr>
            <a:endParaRPr sz="32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91" name="Google Shape;491;g1e301dd1749_0_35" descr="Shape&#10;&#10;Description automatically generated with low confidence"/>
          <p:cNvPicPr preferRelativeResize="0"/>
          <p:nvPr/>
        </p:nvPicPr>
        <p:blipFill rotWithShape="1">
          <a:blip r:embed="rId3">
            <a:alphaModFix/>
          </a:blip>
          <a:srcRect b="8265"/>
          <a:stretch/>
        </p:blipFill>
        <p:spPr>
          <a:xfrm>
            <a:off x="11443306" y="6220980"/>
            <a:ext cx="457468" cy="419670"/>
          </a:xfrm>
          <a:prstGeom prst="rect">
            <a:avLst/>
          </a:prstGeom>
          <a:noFill/>
          <a:ln>
            <a:noFill/>
          </a:ln>
        </p:spPr>
      </p:pic>
      <p:sp>
        <p:nvSpPr>
          <p:cNvPr id="492" name="Google Shape;492;g1e301dd1749_0_35"/>
          <p:cNvSpPr txBox="1"/>
          <p:nvPr/>
        </p:nvSpPr>
        <p:spPr>
          <a:xfrm>
            <a:off x="-177129" y="4435523"/>
            <a:ext cx="3745200" cy="230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r>
              <a:rPr lang="pt-BR" sz="1600">
                <a:latin typeface="Calibri"/>
                <a:ea typeface="Calibri"/>
                <a:cs typeface="Calibri"/>
                <a:sym typeface="Calibri"/>
              </a:rPr>
              <a:t>Matheus Curcio | Supino</a:t>
            </a:r>
            <a:endParaRPr/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r>
              <a:rPr lang="pt-BR" sz="1600">
                <a:latin typeface="Calibri"/>
                <a:ea typeface="Calibri"/>
                <a:cs typeface="Calibri"/>
                <a:sym typeface="Calibri"/>
              </a:rPr>
              <a:t>27</a:t>
            </a:r>
            <a:endParaRPr/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r>
              <a:rPr lang="pt-BR" sz="1600">
                <a:latin typeface="Calibri"/>
                <a:ea typeface="Calibri"/>
                <a:cs typeface="Calibri"/>
                <a:sym typeface="Calibri"/>
              </a:rPr>
              <a:t>Turma XVI</a:t>
            </a:r>
            <a:r>
              <a:rPr lang="pt-BR" sz="16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br>
              <a:rPr lang="pt-BR" sz="16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600">
                <a:latin typeface="Calibri"/>
                <a:ea typeface="Calibri"/>
                <a:cs typeface="Calibri"/>
                <a:sym typeface="Calibri"/>
              </a:rPr>
              <a:t>Analista Pleno Customer Success</a:t>
            </a:r>
            <a:endParaRPr sz="1600"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endParaRPr sz="1600"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r>
              <a:rPr lang="pt-BR" sz="1600">
                <a:latin typeface="Calibri"/>
                <a:ea typeface="Calibri"/>
                <a:cs typeface="Calibri"/>
                <a:sym typeface="Calibri"/>
              </a:rPr>
              <a:t>Matheus Curcio</a:t>
            </a:r>
            <a:endParaRPr sz="1600"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endParaRPr sz="1600"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r>
              <a:rPr lang="pt-BR" sz="1600">
                <a:latin typeface="Calibri"/>
                <a:ea typeface="Calibri"/>
                <a:cs typeface="Calibri"/>
                <a:sym typeface="Calibri"/>
              </a:rPr>
              <a:t>(11) 93939-2420</a:t>
            </a:r>
            <a:endParaRPr sz="1600"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Calibri"/>
              <a:buNone/>
            </a:pPr>
            <a:endParaRPr sz="160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3" name="Google Shape;493;g1e301dd1749_0_35"/>
          <p:cNvSpPr/>
          <p:nvPr/>
        </p:nvSpPr>
        <p:spPr>
          <a:xfrm>
            <a:off x="141387" y="1256884"/>
            <a:ext cx="2987700" cy="29778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4" name="Google Shape;494;g1e301dd1749_0_35"/>
          <p:cNvSpPr/>
          <p:nvPr/>
        </p:nvSpPr>
        <p:spPr>
          <a:xfrm rot="5400000">
            <a:off x="7190574" y="894342"/>
            <a:ext cx="1095600" cy="556800"/>
          </a:xfrm>
          <a:prstGeom prst="rect">
            <a:avLst/>
          </a:prstGeom>
          <a:solidFill>
            <a:srgbClr val="70AD47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5" name="Google Shape;495;g1e301dd1749_0_35"/>
          <p:cNvSpPr/>
          <p:nvPr/>
        </p:nvSpPr>
        <p:spPr>
          <a:xfrm rot="5400000">
            <a:off x="7190571" y="1989850"/>
            <a:ext cx="1095600" cy="5568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6" name="Google Shape;496;g1e301dd1749_0_35"/>
          <p:cNvSpPr/>
          <p:nvPr/>
        </p:nvSpPr>
        <p:spPr>
          <a:xfrm>
            <a:off x="5366086" y="390419"/>
            <a:ext cx="1564500" cy="15645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7" name="Google Shape;497;g1e301dd1749_0_35"/>
          <p:cNvSpPr/>
          <p:nvPr/>
        </p:nvSpPr>
        <p:spPr>
          <a:xfrm>
            <a:off x="8544050" y="1475194"/>
            <a:ext cx="1564500" cy="1564500"/>
          </a:xfrm>
          <a:prstGeom prst="flowChartConnector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8" name="Google Shape;498;g1e301dd1749_0_35"/>
          <p:cNvSpPr/>
          <p:nvPr/>
        </p:nvSpPr>
        <p:spPr>
          <a:xfrm>
            <a:off x="8016763" y="2281486"/>
            <a:ext cx="540600" cy="753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9" name="Google Shape;499;g1e301dd1749_0_35"/>
          <p:cNvSpPr/>
          <p:nvPr/>
        </p:nvSpPr>
        <p:spPr>
          <a:xfrm>
            <a:off x="6922736" y="1172696"/>
            <a:ext cx="540600" cy="75300"/>
          </a:xfrm>
          <a:prstGeom prst="rect">
            <a:avLst/>
          </a:prstGeom>
          <a:solidFill>
            <a:srgbClr val="70AD47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0" name="Google Shape;500;g1e301dd1749_0_35"/>
          <p:cNvSpPr/>
          <p:nvPr/>
        </p:nvSpPr>
        <p:spPr>
          <a:xfrm>
            <a:off x="7657434" y="1178710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1" name="Google Shape;501;g1e301dd1749_0_35"/>
          <p:cNvSpPr/>
          <p:nvPr/>
        </p:nvSpPr>
        <p:spPr>
          <a:xfrm>
            <a:off x="7657434" y="2229229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2" name="Google Shape;502;g1e301dd1749_0_35"/>
          <p:cNvSpPr/>
          <p:nvPr/>
        </p:nvSpPr>
        <p:spPr>
          <a:xfrm>
            <a:off x="7649433" y="3243774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3" name="Google Shape;503;g1e301dd1749_0_35"/>
          <p:cNvSpPr/>
          <p:nvPr/>
        </p:nvSpPr>
        <p:spPr>
          <a:xfrm>
            <a:off x="7649432" y="4456565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4" name="Google Shape;504;g1e301dd1749_0_35"/>
          <p:cNvSpPr/>
          <p:nvPr/>
        </p:nvSpPr>
        <p:spPr>
          <a:xfrm>
            <a:off x="7649432" y="5512741"/>
            <a:ext cx="162000" cy="162000"/>
          </a:xfrm>
          <a:prstGeom prst="flowChartConnector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5" name="Google Shape;505;g1e301dd1749_0_35"/>
          <p:cNvSpPr txBox="1"/>
          <p:nvPr/>
        </p:nvSpPr>
        <p:spPr>
          <a:xfrm>
            <a:off x="3201398" y="964917"/>
            <a:ext cx="1957200" cy="4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Calibri"/>
              <a:buNone/>
            </a:pPr>
            <a:r>
              <a:rPr lang="pt-BR" sz="1100" b="1">
                <a:latin typeface="Calibri"/>
                <a:ea typeface="Calibri"/>
                <a:cs typeface="Calibri"/>
                <a:sym typeface="Calibri"/>
              </a:rPr>
              <a:t>Formação Eng. Alimentos</a:t>
            </a:r>
            <a:r>
              <a:rPr lang="pt-BR" sz="1100">
                <a:latin typeface="Calibri"/>
                <a:ea typeface="Calibri"/>
                <a:cs typeface="Calibri"/>
                <a:sym typeface="Calibri"/>
              </a:rPr>
              <a:t> </a:t>
            </a:r>
            <a:br>
              <a:rPr lang="pt-BR" sz="11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000" i="1">
                <a:latin typeface="Calibri"/>
                <a:ea typeface="Calibri"/>
                <a:cs typeface="Calibri"/>
                <a:sym typeface="Calibri"/>
              </a:rPr>
              <a:t>2022</a:t>
            </a:r>
            <a:endParaRPr sz="11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6" name="Google Shape;506;g1e301dd1749_0_35"/>
          <p:cNvSpPr txBox="1"/>
          <p:nvPr/>
        </p:nvSpPr>
        <p:spPr>
          <a:xfrm>
            <a:off x="9980374" y="2040135"/>
            <a:ext cx="1957200" cy="4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Calibri"/>
              <a:buNone/>
            </a:pPr>
            <a:r>
              <a:rPr lang="pt-BR" sz="1100" b="1">
                <a:latin typeface="Calibri"/>
                <a:ea typeface="Calibri"/>
                <a:cs typeface="Calibri"/>
                <a:sym typeface="Calibri"/>
              </a:rPr>
              <a:t>Efetivação Análista </a:t>
            </a:r>
            <a:br>
              <a:rPr lang="pt-BR" sz="11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pt-BR" sz="1000" i="1">
                <a:latin typeface="Calibri"/>
                <a:ea typeface="Calibri"/>
                <a:cs typeface="Calibri"/>
                <a:sym typeface="Calibri"/>
              </a:rPr>
              <a:t>2022</a:t>
            </a:r>
            <a:endParaRPr sz="11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7" name="Google Shape;507;g1e301dd1749_0_35"/>
          <p:cNvSpPr/>
          <p:nvPr/>
        </p:nvSpPr>
        <p:spPr>
          <a:xfrm>
            <a:off x="11900774" y="933450"/>
            <a:ext cx="291300" cy="49911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508" name="Google Shape;508;g1e301dd1749_0_35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595625" y="5674757"/>
            <a:ext cx="291300" cy="2913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09" name="Google Shape;509;g1e301dd1749_0_35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595625" y="6145264"/>
            <a:ext cx="291300" cy="2913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10" name="Google Shape;510;g1e301dd1749_0_35"/>
          <p:cNvPicPr preferRelativeResize="0"/>
          <p:nvPr/>
        </p:nvPicPr>
        <p:blipFill rotWithShape="1">
          <a:blip r:embed="rId6">
            <a:alphaModFix/>
          </a:blip>
          <a:srcRect l="13617" t="20265" r="5081" b="14087"/>
          <a:stretch/>
        </p:blipFill>
        <p:spPr>
          <a:xfrm>
            <a:off x="141375" y="1137475"/>
            <a:ext cx="2987700" cy="3216600"/>
          </a:xfrm>
          <a:prstGeom prst="ellipse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"/>
            <a:headEnd type="none" w="sm" len="sm"/>
            <a:tailEnd type="none" w="sm" len="sm"/>
          </a:ln>
        </p:spPr>
      </p:pic>
      <p:pic>
        <p:nvPicPr>
          <p:cNvPr id="511" name="Google Shape;511;g1e301dd1749_0_35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5230925" y="336450"/>
            <a:ext cx="1834800" cy="1747800"/>
          </a:xfrm>
          <a:prstGeom prst="ellipse">
            <a:avLst/>
          </a:prstGeom>
          <a:noFill/>
          <a:ln>
            <a:noFill/>
          </a:ln>
        </p:spPr>
      </p:pic>
      <p:pic>
        <p:nvPicPr>
          <p:cNvPr id="512" name="Google Shape;512;g1e301dd1749_0_35"/>
          <p:cNvPicPr preferRelativeResize="0"/>
          <p:nvPr/>
        </p:nvPicPr>
        <p:blipFill rotWithShape="1">
          <a:blip r:embed="rId8">
            <a:alphaModFix/>
          </a:blip>
          <a:srcRect t="20541" b="9327"/>
          <a:stretch/>
        </p:blipFill>
        <p:spPr>
          <a:xfrm>
            <a:off x="8546175" y="1465625"/>
            <a:ext cx="1564500" cy="1564500"/>
          </a:xfrm>
          <a:prstGeom prst="ellipse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ArchiveVTI">
  <a:themeElements>
    <a:clrScheme name="AnalogousFromRegularSeedRightStep">
      <a:dk1>
        <a:srgbClr val="000000"/>
      </a:dk1>
      <a:lt1>
        <a:srgbClr val="FFFFFF"/>
      </a:lt1>
      <a:dk2>
        <a:srgbClr val="412724"/>
      </a:dk2>
      <a:lt2>
        <a:srgbClr val="E2E8E4"/>
      </a:lt2>
      <a:accent1>
        <a:srgbClr val="D739AE"/>
      </a:accent1>
      <a:accent2>
        <a:srgbClr val="C5275A"/>
      </a:accent2>
      <a:accent3>
        <a:srgbClr val="D74839"/>
      </a:accent3>
      <a:accent4>
        <a:srgbClr val="C57827"/>
      </a:accent4>
      <a:accent5>
        <a:srgbClr val="B0A72F"/>
      </a:accent5>
      <a:accent6>
        <a:srgbClr val="81B223"/>
      </a:accent6>
      <a:hlink>
        <a:srgbClr val="31944B"/>
      </a:hlink>
      <a:folHlink>
        <a:srgbClr val="7F7F7F"/>
      </a:folHlink>
    </a:clrScheme>
    <a:fontScheme name="Custom 170">
      <a:majorFont>
        <a:latin typeface="Bembo"/>
        <a:ea typeface=""/>
        <a:cs typeface=""/>
      </a:majorFont>
      <a:minorFont>
        <a:latin typeface="Bemb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rchiveVTI" id="{514BDC9F-20AC-40CA-9FE7-B30987BCD2D4}" vid="{D8FA1533-D953-46ED-B2C7-B32AF1BED7A8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4</TotalTime>
  <Words>930</Words>
  <Application>Microsoft Office PowerPoint</Application>
  <PresentationFormat>Widescreen</PresentationFormat>
  <Paragraphs>164</Paragraphs>
  <Slides>15</Slides>
  <Notes>13</Notes>
  <HiddenSlides>1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6" baseType="lpstr">
      <vt:lpstr>Calibri</vt:lpstr>
      <vt:lpstr>Bembo</vt:lpstr>
      <vt:lpstr>Bahnschrift SemiBold</vt:lpstr>
      <vt:lpstr>Proxima Nova</vt:lpstr>
      <vt:lpstr>Open Sans Light</vt:lpstr>
      <vt:lpstr>Bahnschrift</vt:lpstr>
      <vt:lpstr>Arial</vt:lpstr>
      <vt:lpstr>Office Theme</vt:lpstr>
      <vt:lpstr>1_Office Theme</vt:lpstr>
      <vt:lpstr>ArchiveVTI</vt:lpstr>
      <vt:lpstr>think-cell Slide</vt:lpstr>
      <vt:lpstr>PowerPoint Presentation</vt:lpstr>
      <vt:lpstr>Agend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Zawit, Ismael abdallah [CONBR]</dc:creator>
  <cp:lastModifiedBy>Zawit, Ismael abdallah [CONBR]</cp:lastModifiedBy>
  <cp:revision>2</cp:revision>
  <dcterms:created xsi:type="dcterms:W3CDTF">2023-05-16T12:11:00Z</dcterms:created>
  <dcterms:modified xsi:type="dcterms:W3CDTF">2023-05-19T12:11:10Z</dcterms:modified>
</cp:coreProperties>
</file>